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4"/>
  </p:notesMasterIdLst>
  <p:handoutMasterIdLst>
    <p:handoutMasterId r:id="rId15"/>
  </p:handoutMasterIdLst>
  <p:sldIdLst>
    <p:sldId id="399" r:id="rId5"/>
    <p:sldId id="400" r:id="rId6"/>
    <p:sldId id="402" r:id="rId7"/>
    <p:sldId id="403" r:id="rId8"/>
    <p:sldId id="404" r:id="rId9"/>
    <p:sldId id="396" r:id="rId10"/>
    <p:sldId id="405" r:id="rId11"/>
    <p:sldId id="398" r:id="rId12"/>
    <p:sldId id="389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C9CD31D-AE8E-0A41-8D86-7BE68F83CB23}">
          <p14:sldIdLst>
            <p14:sldId id="399"/>
            <p14:sldId id="400"/>
            <p14:sldId id="402"/>
            <p14:sldId id="403"/>
            <p14:sldId id="404"/>
            <p14:sldId id="396"/>
            <p14:sldId id="405"/>
            <p14:sldId id="398"/>
            <p14:sldId id="389"/>
          </p14:sldIdLst>
        </p14:section>
        <p14:section name="Bonus slides" id="{A73361E4-831F-114E-AEF3-D2929F6757BC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9A18"/>
    <a:srgbClr val="8B348A"/>
    <a:srgbClr val="5FB2D7"/>
    <a:srgbClr val="1E3665"/>
    <a:srgbClr val="37B3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79A9EE1-C313-D537-C4FA-D8D4724405EE}" v="219" dt="2019-10-02T08:11:12.925"/>
    <p1510:client id="{0ECB4058-47D2-7F23-3451-D1BCF99D74D1}" v="1059" dt="2019-09-10T13:49:30.451"/>
    <p1510:client id="{35437810-198A-D30E-6480-2996336E89EA}" v="1665" dt="2019-09-10T14:06:37.326"/>
    <p1510:client id="{6064CBC6-C00E-8C87-F5B5-40B720308D7A}" v="611" dt="2019-10-02T13:46:02.402"/>
    <p1510:client id="{6C044EE1-FC67-87EC-A34E-3C33C3813604}" v="169" dt="2019-09-12T13:43:11.075"/>
    <p1510:client id="{6C4E194D-7B47-0B61-DCB8-95DFB4BD179B}" v="302" dt="2019-09-12T11:54:19.866"/>
    <p1510:client id="{88A5AA26-51E1-AB8E-F6E9-1C6BBA0C5DD6}" v="447" dt="2019-09-11T15:56:59.210"/>
    <p1510:client id="{A36825E3-6908-A106-E2DD-4A0D2108570A}" v="2245" dt="2019-09-11T15:06:17.57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12C9481-B88C-4AA1-B845-973FA46773F1}" type="datetimeFigureOut">
              <a:rPr lang="en-US" smtClean="0"/>
              <a:t>10/8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1B68F9F-A7B4-4FC5-B51E-C0D72E0D9E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96688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F0EF36-15B9-42F3-92BB-42886B4DFB4E}" type="datetimeFigureOut">
              <a:rPr lang="en-US" smtClean="0"/>
              <a:t>10/8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1B2640-EACE-4EFB-9A40-B0D8432EE9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05096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EE3F3F35-1D61-A34B-AA1D-86584532507C}"/>
              </a:ext>
            </a:extLst>
          </p:cNvPr>
          <p:cNvSpPr/>
          <p:nvPr userDrawn="1"/>
        </p:nvSpPr>
        <p:spPr>
          <a:xfrm>
            <a:off x="0" y="0"/>
            <a:ext cx="12185650" cy="35383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9ED63F8-5831-AD42-A51E-5EC9065C70B9}"/>
              </a:ext>
            </a:extLst>
          </p:cNvPr>
          <p:cNvSpPr txBox="1"/>
          <p:nvPr userDrawn="1"/>
        </p:nvSpPr>
        <p:spPr>
          <a:xfrm>
            <a:off x="10298486" y="309043"/>
            <a:ext cx="1256591" cy="43858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>
              <a:lnSpc>
                <a:spcPts val="880"/>
              </a:lnSpc>
            </a:pPr>
            <a:r>
              <a:rPr lang="en-US" sz="900" b="0" i="0">
                <a:solidFill>
                  <a:schemeClr val="bg1"/>
                </a:solidFill>
                <a:latin typeface="Bai Jamjuree Medium" pitchFamily="2" charset="-34"/>
                <a:cs typeface="Bai Jamjuree Medium" pitchFamily="2" charset="-34"/>
              </a:rPr>
              <a:t>autonomous</a:t>
            </a:r>
          </a:p>
          <a:p>
            <a:pPr algn="r">
              <a:lnSpc>
                <a:spcPts val="880"/>
              </a:lnSpc>
            </a:pPr>
            <a:r>
              <a:rPr lang="en-US" sz="900" b="0" i="0">
                <a:solidFill>
                  <a:schemeClr val="bg1"/>
                </a:solidFill>
                <a:latin typeface="Bai Jamjuree Medium" pitchFamily="2" charset="-34"/>
                <a:cs typeface="Bai Jamjuree Medium" pitchFamily="2" charset="-34"/>
              </a:rPr>
              <a:t>intelligent</a:t>
            </a:r>
          </a:p>
          <a:p>
            <a:pPr algn="r">
              <a:lnSpc>
                <a:spcPts val="880"/>
              </a:lnSpc>
            </a:pPr>
            <a:r>
              <a:rPr lang="en-US" sz="900" b="0" i="0">
                <a:solidFill>
                  <a:schemeClr val="bg1"/>
                </a:solidFill>
                <a:latin typeface="Bai Jamjuree Medium" pitchFamily="2" charset="-34"/>
                <a:cs typeface="Bai Jamjuree Medium" pitchFamily="2" charset="-34"/>
              </a:rPr>
              <a:t>systems</a:t>
            </a:r>
          </a:p>
        </p:txBody>
      </p:sp>
      <p:pic>
        <p:nvPicPr>
          <p:cNvPr id="14" name="Afbeelding 8">
            <a:extLst>
              <a:ext uri="{FF2B5EF4-FFF2-40B4-BE49-F238E27FC236}">
                <a16:creationId xmlns:a16="http://schemas.microsoft.com/office/drawing/2014/main" id="{69968EC8-CAA1-764F-BB40-F6D0493DB9A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0573" y="-187559"/>
            <a:ext cx="2424244" cy="1348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6989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>
        <p:push dir="r"/>
      </p:transition>
    </mc:Choice>
    <mc:Fallback xmlns="">
      <p:transition>
        <p:push dir="r"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EE3F3F35-1D61-A34B-AA1D-86584532507C}"/>
              </a:ext>
            </a:extLst>
          </p:cNvPr>
          <p:cNvSpPr/>
          <p:nvPr userDrawn="1"/>
        </p:nvSpPr>
        <p:spPr>
          <a:xfrm>
            <a:off x="0" y="0"/>
            <a:ext cx="12192000" cy="635267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B86CA21-93BE-D14A-B8AD-5996288EF4E0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6306951"/>
            <a:ext cx="12192000" cy="45719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7F1A0FB-9600-C54C-8061-8D5898206D58}"/>
              </a:ext>
            </a:extLst>
          </p:cNvPr>
          <p:cNvSpPr txBox="1"/>
          <p:nvPr userDrawn="1"/>
        </p:nvSpPr>
        <p:spPr>
          <a:xfrm>
            <a:off x="10298486" y="309043"/>
            <a:ext cx="1256591" cy="43858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>
              <a:lnSpc>
                <a:spcPts val="880"/>
              </a:lnSpc>
            </a:pPr>
            <a:r>
              <a:rPr lang="en-US" sz="900" b="0" i="0">
                <a:solidFill>
                  <a:schemeClr val="bg1"/>
                </a:solidFill>
                <a:latin typeface="Bai Jamjuree Medium" pitchFamily="2" charset="-34"/>
                <a:cs typeface="Bai Jamjuree Medium" pitchFamily="2" charset="-34"/>
              </a:rPr>
              <a:t>autonomous</a:t>
            </a:r>
          </a:p>
          <a:p>
            <a:pPr algn="r">
              <a:lnSpc>
                <a:spcPts val="880"/>
              </a:lnSpc>
            </a:pPr>
            <a:r>
              <a:rPr lang="en-US" sz="900" b="0" i="0">
                <a:solidFill>
                  <a:schemeClr val="bg1"/>
                </a:solidFill>
                <a:latin typeface="Bai Jamjuree Medium" pitchFamily="2" charset="-34"/>
                <a:cs typeface="Bai Jamjuree Medium" pitchFamily="2" charset="-34"/>
              </a:rPr>
              <a:t>intelligent</a:t>
            </a:r>
          </a:p>
          <a:p>
            <a:pPr algn="r">
              <a:lnSpc>
                <a:spcPts val="880"/>
              </a:lnSpc>
            </a:pPr>
            <a:r>
              <a:rPr lang="en-US" sz="900" b="0" i="0">
                <a:solidFill>
                  <a:schemeClr val="bg1"/>
                </a:solidFill>
                <a:latin typeface="Bai Jamjuree Medium" pitchFamily="2" charset="-34"/>
                <a:cs typeface="Bai Jamjuree Medium" pitchFamily="2" charset="-34"/>
              </a:rPr>
              <a:t>systems</a:t>
            </a:r>
          </a:p>
        </p:txBody>
      </p:sp>
      <p:sp>
        <p:nvSpPr>
          <p:cNvPr id="16" name="Date Placeholder 1">
            <a:extLst>
              <a:ext uri="{FF2B5EF4-FFF2-40B4-BE49-F238E27FC236}">
                <a16:creationId xmlns:a16="http://schemas.microsoft.com/office/drawing/2014/main" id="{69A8695E-7283-F347-ABD1-A71BD57400E0}"/>
              </a:ext>
            </a:extLst>
          </p:cNvPr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8514720" y="6407943"/>
            <a:ext cx="2091207" cy="261938"/>
          </a:xfrm>
          <a:prstGeom prst="rect">
            <a:avLst/>
          </a:prstGeom>
          <a:noFill/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i="0" kern="1200">
                <a:solidFill>
                  <a:schemeClr val="accent4"/>
                </a:solidFill>
                <a:effectLst/>
                <a:latin typeface="Bai Jamjuree Medium" pitchFamily="2" charset="-34"/>
                <a:ea typeface="+mn-ea"/>
                <a:cs typeface="Bai Jamjuree Medium" pitchFamily="2" charset="-34"/>
              </a:rPr>
              <a:t>www.nobleo-technology.nl</a:t>
            </a:r>
          </a:p>
        </p:txBody>
      </p:sp>
      <p:sp>
        <p:nvSpPr>
          <p:cNvPr id="28" name="Delay 27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A2EA6B73-5E2A-D847-B618-18AF4BF34C03}"/>
              </a:ext>
            </a:extLst>
          </p:cNvPr>
          <p:cNvSpPr>
            <a:spLocks noEditPoints="1"/>
          </p:cNvSpPr>
          <p:nvPr userDrawn="1"/>
        </p:nvSpPr>
        <p:spPr bwMode="auto">
          <a:xfrm flipH="1">
            <a:off x="10700411" y="6452866"/>
            <a:ext cx="226371" cy="221156"/>
          </a:xfrm>
          <a:prstGeom prst="flowChartDelay">
            <a:avLst/>
          </a:prstGeom>
          <a:solidFill>
            <a:srgbClr val="F59A1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29" name="Delay 28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CD637432-2003-DA4F-927A-5BB7281C6EA3}"/>
              </a:ext>
            </a:extLst>
          </p:cNvPr>
          <p:cNvSpPr>
            <a:spLocks noEditPoints="1"/>
          </p:cNvSpPr>
          <p:nvPr userDrawn="1"/>
        </p:nvSpPr>
        <p:spPr bwMode="auto">
          <a:xfrm rot="10800000" flipH="1">
            <a:off x="11413736" y="6457628"/>
            <a:ext cx="224082" cy="221156"/>
          </a:xfrm>
          <a:prstGeom prst="flowChartDelay">
            <a:avLst/>
          </a:prstGeom>
          <a:solidFill>
            <a:srgbClr val="F59A1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>
              <a:solidFill>
                <a:schemeClr val="bg1"/>
              </a:solidFill>
            </a:endParaRPr>
          </a:p>
        </p:txBody>
      </p:sp>
      <p:sp>
        <p:nvSpPr>
          <p:cNvPr id="30" name="Freeform 29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5F8A0595-6901-A44B-8EB1-327B4991D0E1}"/>
              </a:ext>
            </a:extLst>
          </p:cNvPr>
          <p:cNvSpPr>
            <a:spLocks/>
          </p:cNvSpPr>
          <p:nvPr userDrawn="1"/>
        </p:nvSpPr>
        <p:spPr bwMode="auto">
          <a:xfrm>
            <a:off x="10788556" y="6518601"/>
            <a:ext cx="52373" cy="89686"/>
          </a:xfrm>
          <a:custGeom>
            <a:avLst/>
            <a:gdLst>
              <a:gd name="T0" fmla="*/ 417 w 425"/>
              <a:gd name="T1" fmla="*/ 77 h 728"/>
              <a:gd name="T2" fmla="*/ 131 w 425"/>
              <a:gd name="T3" fmla="*/ 364 h 728"/>
              <a:gd name="T4" fmla="*/ 417 w 425"/>
              <a:gd name="T5" fmla="*/ 650 h 728"/>
              <a:gd name="T6" fmla="*/ 425 w 425"/>
              <a:gd name="T7" fmla="*/ 667 h 728"/>
              <a:gd name="T8" fmla="*/ 417 w 425"/>
              <a:gd name="T9" fmla="*/ 684 h 728"/>
              <a:gd name="T10" fmla="*/ 381 w 425"/>
              <a:gd name="T11" fmla="*/ 720 h 728"/>
              <a:gd name="T12" fmla="*/ 364 w 425"/>
              <a:gd name="T13" fmla="*/ 728 h 728"/>
              <a:gd name="T14" fmla="*/ 347 w 425"/>
              <a:gd name="T15" fmla="*/ 720 h 728"/>
              <a:gd name="T16" fmla="*/ 8 w 425"/>
              <a:gd name="T17" fmla="*/ 381 h 728"/>
              <a:gd name="T18" fmla="*/ 0 w 425"/>
              <a:gd name="T19" fmla="*/ 364 h 728"/>
              <a:gd name="T20" fmla="*/ 8 w 425"/>
              <a:gd name="T21" fmla="*/ 347 h 728"/>
              <a:gd name="T22" fmla="*/ 347 w 425"/>
              <a:gd name="T23" fmla="*/ 7 h 728"/>
              <a:gd name="T24" fmla="*/ 364 w 425"/>
              <a:gd name="T25" fmla="*/ 0 h 728"/>
              <a:gd name="T26" fmla="*/ 381 w 425"/>
              <a:gd name="T27" fmla="*/ 7 h 728"/>
              <a:gd name="T28" fmla="*/ 417 w 425"/>
              <a:gd name="T29" fmla="*/ 44 h 728"/>
              <a:gd name="T30" fmla="*/ 425 w 425"/>
              <a:gd name="T31" fmla="*/ 60 h 728"/>
              <a:gd name="T32" fmla="*/ 417 w 425"/>
              <a:gd name="T33" fmla="*/ 77 h 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25" h="728">
                <a:moveTo>
                  <a:pt x="417" y="77"/>
                </a:moveTo>
                <a:cubicBezTo>
                  <a:pt x="131" y="364"/>
                  <a:pt x="131" y="364"/>
                  <a:pt x="131" y="364"/>
                </a:cubicBezTo>
                <a:cubicBezTo>
                  <a:pt x="417" y="650"/>
                  <a:pt x="417" y="650"/>
                  <a:pt x="417" y="650"/>
                </a:cubicBezTo>
                <a:cubicBezTo>
                  <a:pt x="422" y="655"/>
                  <a:pt x="425" y="661"/>
                  <a:pt x="425" y="667"/>
                </a:cubicBezTo>
                <a:cubicBezTo>
                  <a:pt x="425" y="673"/>
                  <a:pt x="422" y="680"/>
                  <a:pt x="417" y="684"/>
                </a:cubicBezTo>
                <a:cubicBezTo>
                  <a:pt x="381" y="720"/>
                  <a:pt x="381" y="720"/>
                  <a:pt x="381" y="720"/>
                </a:cubicBezTo>
                <a:cubicBezTo>
                  <a:pt x="377" y="725"/>
                  <a:pt x="370" y="728"/>
                  <a:pt x="364" y="728"/>
                </a:cubicBezTo>
                <a:cubicBezTo>
                  <a:pt x="358" y="728"/>
                  <a:pt x="352" y="725"/>
                  <a:pt x="347" y="720"/>
                </a:cubicBezTo>
                <a:cubicBezTo>
                  <a:pt x="8" y="381"/>
                  <a:pt x="8" y="381"/>
                  <a:pt x="8" y="381"/>
                </a:cubicBezTo>
                <a:cubicBezTo>
                  <a:pt x="3" y="376"/>
                  <a:pt x="0" y="369"/>
                  <a:pt x="0" y="364"/>
                </a:cubicBezTo>
                <a:cubicBezTo>
                  <a:pt x="0" y="358"/>
                  <a:pt x="3" y="351"/>
                  <a:pt x="8" y="347"/>
                </a:cubicBezTo>
                <a:cubicBezTo>
                  <a:pt x="347" y="7"/>
                  <a:pt x="347" y="7"/>
                  <a:pt x="347" y="7"/>
                </a:cubicBezTo>
                <a:cubicBezTo>
                  <a:pt x="352" y="3"/>
                  <a:pt x="358" y="0"/>
                  <a:pt x="364" y="0"/>
                </a:cubicBezTo>
                <a:cubicBezTo>
                  <a:pt x="370" y="0"/>
                  <a:pt x="377" y="3"/>
                  <a:pt x="381" y="7"/>
                </a:cubicBezTo>
                <a:cubicBezTo>
                  <a:pt x="417" y="44"/>
                  <a:pt x="417" y="44"/>
                  <a:pt x="417" y="44"/>
                </a:cubicBezTo>
                <a:cubicBezTo>
                  <a:pt x="422" y="48"/>
                  <a:pt x="425" y="54"/>
                  <a:pt x="425" y="60"/>
                </a:cubicBezTo>
                <a:cubicBezTo>
                  <a:pt x="425" y="66"/>
                  <a:pt x="422" y="73"/>
                  <a:pt x="417" y="7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31" name="Freeform 30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00D6B4AE-6B6C-E647-BC13-EA12037CF5F7}"/>
              </a:ext>
            </a:extLst>
          </p:cNvPr>
          <p:cNvSpPr>
            <a:spLocks/>
          </p:cNvSpPr>
          <p:nvPr userDrawn="1"/>
        </p:nvSpPr>
        <p:spPr bwMode="auto">
          <a:xfrm flipH="1">
            <a:off x="11490961" y="6518601"/>
            <a:ext cx="52373" cy="89686"/>
          </a:xfrm>
          <a:custGeom>
            <a:avLst/>
            <a:gdLst>
              <a:gd name="T0" fmla="*/ 417 w 425"/>
              <a:gd name="T1" fmla="*/ 77 h 728"/>
              <a:gd name="T2" fmla="*/ 131 w 425"/>
              <a:gd name="T3" fmla="*/ 364 h 728"/>
              <a:gd name="T4" fmla="*/ 417 w 425"/>
              <a:gd name="T5" fmla="*/ 650 h 728"/>
              <a:gd name="T6" fmla="*/ 425 w 425"/>
              <a:gd name="T7" fmla="*/ 667 h 728"/>
              <a:gd name="T8" fmla="*/ 417 w 425"/>
              <a:gd name="T9" fmla="*/ 684 h 728"/>
              <a:gd name="T10" fmla="*/ 381 w 425"/>
              <a:gd name="T11" fmla="*/ 720 h 728"/>
              <a:gd name="T12" fmla="*/ 364 w 425"/>
              <a:gd name="T13" fmla="*/ 728 h 728"/>
              <a:gd name="T14" fmla="*/ 347 w 425"/>
              <a:gd name="T15" fmla="*/ 720 h 728"/>
              <a:gd name="T16" fmla="*/ 8 w 425"/>
              <a:gd name="T17" fmla="*/ 381 h 728"/>
              <a:gd name="T18" fmla="*/ 0 w 425"/>
              <a:gd name="T19" fmla="*/ 364 h 728"/>
              <a:gd name="T20" fmla="*/ 8 w 425"/>
              <a:gd name="T21" fmla="*/ 347 h 728"/>
              <a:gd name="T22" fmla="*/ 347 w 425"/>
              <a:gd name="T23" fmla="*/ 7 h 728"/>
              <a:gd name="T24" fmla="*/ 364 w 425"/>
              <a:gd name="T25" fmla="*/ 0 h 728"/>
              <a:gd name="T26" fmla="*/ 381 w 425"/>
              <a:gd name="T27" fmla="*/ 7 h 728"/>
              <a:gd name="T28" fmla="*/ 417 w 425"/>
              <a:gd name="T29" fmla="*/ 44 h 728"/>
              <a:gd name="T30" fmla="*/ 425 w 425"/>
              <a:gd name="T31" fmla="*/ 60 h 728"/>
              <a:gd name="T32" fmla="*/ 417 w 425"/>
              <a:gd name="T33" fmla="*/ 77 h 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25" h="728">
                <a:moveTo>
                  <a:pt x="417" y="77"/>
                </a:moveTo>
                <a:cubicBezTo>
                  <a:pt x="131" y="364"/>
                  <a:pt x="131" y="364"/>
                  <a:pt x="131" y="364"/>
                </a:cubicBezTo>
                <a:cubicBezTo>
                  <a:pt x="417" y="650"/>
                  <a:pt x="417" y="650"/>
                  <a:pt x="417" y="650"/>
                </a:cubicBezTo>
                <a:cubicBezTo>
                  <a:pt x="422" y="655"/>
                  <a:pt x="425" y="661"/>
                  <a:pt x="425" y="667"/>
                </a:cubicBezTo>
                <a:cubicBezTo>
                  <a:pt x="425" y="673"/>
                  <a:pt x="422" y="680"/>
                  <a:pt x="417" y="684"/>
                </a:cubicBezTo>
                <a:cubicBezTo>
                  <a:pt x="381" y="720"/>
                  <a:pt x="381" y="720"/>
                  <a:pt x="381" y="720"/>
                </a:cubicBezTo>
                <a:cubicBezTo>
                  <a:pt x="377" y="725"/>
                  <a:pt x="370" y="728"/>
                  <a:pt x="364" y="728"/>
                </a:cubicBezTo>
                <a:cubicBezTo>
                  <a:pt x="358" y="728"/>
                  <a:pt x="352" y="725"/>
                  <a:pt x="347" y="720"/>
                </a:cubicBezTo>
                <a:cubicBezTo>
                  <a:pt x="8" y="381"/>
                  <a:pt x="8" y="381"/>
                  <a:pt x="8" y="381"/>
                </a:cubicBezTo>
                <a:cubicBezTo>
                  <a:pt x="3" y="376"/>
                  <a:pt x="0" y="369"/>
                  <a:pt x="0" y="364"/>
                </a:cubicBezTo>
                <a:cubicBezTo>
                  <a:pt x="0" y="358"/>
                  <a:pt x="3" y="351"/>
                  <a:pt x="8" y="347"/>
                </a:cubicBezTo>
                <a:cubicBezTo>
                  <a:pt x="347" y="7"/>
                  <a:pt x="347" y="7"/>
                  <a:pt x="347" y="7"/>
                </a:cubicBezTo>
                <a:cubicBezTo>
                  <a:pt x="352" y="3"/>
                  <a:pt x="358" y="0"/>
                  <a:pt x="364" y="0"/>
                </a:cubicBezTo>
                <a:cubicBezTo>
                  <a:pt x="370" y="0"/>
                  <a:pt x="377" y="3"/>
                  <a:pt x="381" y="7"/>
                </a:cubicBezTo>
                <a:cubicBezTo>
                  <a:pt x="417" y="44"/>
                  <a:pt x="417" y="44"/>
                  <a:pt x="417" y="44"/>
                </a:cubicBezTo>
                <a:cubicBezTo>
                  <a:pt x="422" y="48"/>
                  <a:pt x="425" y="54"/>
                  <a:pt x="425" y="60"/>
                </a:cubicBezTo>
                <a:cubicBezTo>
                  <a:pt x="425" y="66"/>
                  <a:pt x="422" y="73"/>
                  <a:pt x="417" y="7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D390D82C-DEAC-6F46-B544-E7D0F5203A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26784" y="6385378"/>
            <a:ext cx="478323" cy="33609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 b="1">
                <a:solidFill>
                  <a:srgbClr val="F59A18"/>
                </a:solidFill>
                <a:latin typeface="Brown" panose="02000000000000000000" pitchFamily="2" charset="77"/>
                <a:ea typeface="Helvetica 55 Roman" panose="02000503000000020004" pitchFamily="2" charset="0"/>
                <a:cs typeface="Helvetica 55 Roman" panose="02000503000000020004" pitchFamily="2" charset="0"/>
              </a:defRPr>
            </a:lvl1pPr>
          </a:lstStyle>
          <a:p>
            <a:fld id="{233E1F8A-623D-F543-9B8C-2A7B255C069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1387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>
        <p:push dir="r"/>
      </p:transition>
    </mc:Choice>
    <mc:Fallback xmlns="">
      <p:transition>
        <p:push dir="r"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EE3F3F35-1D61-A34B-AA1D-86584532507C}"/>
              </a:ext>
            </a:extLst>
          </p:cNvPr>
          <p:cNvSpPr/>
          <p:nvPr userDrawn="1"/>
        </p:nvSpPr>
        <p:spPr>
          <a:xfrm>
            <a:off x="0" y="0"/>
            <a:ext cx="12192000" cy="635267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B86CA21-93BE-D14A-B8AD-5996288EF4E0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6306951"/>
            <a:ext cx="12192000" cy="45719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7F1A0FB-9600-C54C-8061-8D5898206D58}"/>
              </a:ext>
            </a:extLst>
          </p:cNvPr>
          <p:cNvSpPr txBox="1"/>
          <p:nvPr userDrawn="1"/>
        </p:nvSpPr>
        <p:spPr>
          <a:xfrm>
            <a:off x="10298486" y="309043"/>
            <a:ext cx="1256591" cy="43858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>
              <a:lnSpc>
                <a:spcPts val="880"/>
              </a:lnSpc>
            </a:pPr>
            <a:r>
              <a:rPr lang="en-US" sz="900" b="0" i="0">
                <a:solidFill>
                  <a:schemeClr val="bg1"/>
                </a:solidFill>
                <a:latin typeface="Bai Jamjuree Medium" pitchFamily="2" charset="-34"/>
                <a:cs typeface="Bai Jamjuree Medium" pitchFamily="2" charset="-34"/>
              </a:rPr>
              <a:t>autonomous</a:t>
            </a:r>
          </a:p>
          <a:p>
            <a:pPr algn="r">
              <a:lnSpc>
                <a:spcPts val="880"/>
              </a:lnSpc>
            </a:pPr>
            <a:r>
              <a:rPr lang="en-US" sz="900" b="0" i="0">
                <a:solidFill>
                  <a:schemeClr val="bg1"/>
                </a:solidFill>
                <a:latin typeface="Bai Jamjuree Medium" pitchFamily="2" charset="-34"/>
                <a:cs typeface="Bai Jamjuree Medium" pitchFamily="2" charset="-34"/>
              </a:rPr>
              <a:t>intelligent</a:t>
            </a:r>
          </a:p>
          <a:p>
            <a:pPr algn="r">
              <a:lnSpc>
                <a:spcPts val="880"/>
              </a:lnSpc>
            </a:pPr>
            <a:r>
              <a:rPr lang="en-US" sz="900" b="0" i="0">
                <a:solidFill>
                  <a:schemeClr val="bg1"/>
                </a:solidFill>
                <a:latin typeface="Bai Jamjuree Medium" pitchFamily="2" charset="-34"/>
                <a:cs typeface="Bai Jamjuree Medium" pitchFamily="2" charset="-34"/>
              </a:rPr>
              <a:t>systems</a:t>
            </a:r>
          </a:p>
        </p:txBody>
      </p:sp>
      <p:sp>
        <p:nvSpPr>
          <p:cNvPr id="31" name="Freeform 30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00D6B4AE-6B6C-E647-BC13-EA12037CF5F7}"/>
              </a:ext>
            </a:extLst>
          </p:cNvPr>
          <p:cNvSpPr>
            <a:spLocks/>
          </p:cNvSpPr>
          <p:nvPr userDrawn="1"/>
        </p:nvSpPr>
        <p:spPr bwMode="auto">
          <a:xfrm flipH="1">
            <a:off x="11490961" y="6518601"/>
            <a:ext cx="52373" cy="89686"/>
          </a:xfrm>
          <a:custGeom>
            <a:avLst/>
            <a:gdLst>
              <a:gd name="T0" fmla="*/ 417 w 425"/>
              <a:gd name="T1" fmla="*/ 77 h 728"/>
              <a:gd name="T2" fmla="*/ 131 w 425"/>
              <a:gd name="T3" fmla="*/ 364 h 728"/>
              <a:gd name="T4" fmla="*/ 417 w 425"/>
              <a:gd name="T5" fmla="*/ 650 h 728"/>
              <a:gd name="T6" fmla="*/ 425 w 425"/>
              <a:gd name="T7" fmla="*/ 667 h 728"/>
              <a:gd name="T8" fmla="*/ 417 w 425"/>
              <a:gd name="T9" fmla="*/ 684 h 728"/>
              <a:gd name="T10" fmla="*/ 381 w 425"/>
              <a:gd name="T11" fmla="*/ 720 h 728"/>
              <a:gd name="T12" fmla="*/ 364 w 425"/>
              <a:gd name="T13" fmla="*/ 728 h 728"/>
              <a:gd name="T14" fmla="*/ 347 w 425"/>
              <a:gd name="T15" fmla="*/ 720 h 728"/>
              <a:gd name="T16" fmla="*/ 8 w 425"/>
              <a:gd name="T17" fmla="*/ 381 h 728"/>
              <a:gd name="T18" fmla="*/ 0 w 425"/>
              <a:gd name="T19" fmla="*/ 364 h 728"/>
              <a:gd name="T20" fmla="*/ 8 w 425"/>
              <a:gd name="T21" fmla="*/ 347 h 728"/>
              <a:gd name="T22" fmla="*/ 347 w 425"/>
              <a:gd name="T23" fmla="*/ 7 h 728"/>
              <a:gd name="T24" fmla="*/ 364 w 425"/>
              <a:gd name="T25" fmla="*/ 0 h 728"/>
              <a:gd name="T26" fmla="*/ 381 w 425"/>
              <a:gd name="T27" fmla="*/ 7 h 728"/>
              <a:gd name="T28" fmla="*/ 417 w 425"/>
              <a:gd name="T29" fmla="*/ 44 h 728"/>
              <a:gd name="T30" fmla="*/ 425 w 425"/>
              <a:gd name="T31" fmla="*/ 60 h 728"/>
              <a:gd name="T32" fmla="*/ 417 w 425"/>
              <a:gd name="T33" fmla="*/ 77 h 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25" h="728">
                <a:moveTo>
                  <a:pt x="417" y="77"/>
                </a:moveTo>
                <a:cubicBezTo>
                  <a:pt x="131" y="364"/>
                  <a:pt x="131" y="364"/>
                  <a:pt x="131" y="364"/>
                </a:cubicBezTo>
                <a:cubicBezTo>
                  <a:pt x="417" y="650"/>
                  <a:pt x="417" y="650"/>
                  <a:pt x="417" y="650"/>
                </a:cubicBezTo>
                <a:cubicBezTo>
                  <a:pt x="422" y="655"/>
                  <a:pt x="425" y="661"/>
                  <a:pt x="425" y="667"/>
                </a:cubicBezTo>
                <a:cubicBezTo>
                  <a:pt x="425" y="673"/>
                  <a:pt x="422" y="680"/>
                  <a:pt x="417" y="684"/>
                </a:cubicBezTo>
                <a:cubicBezTo>
                  <a:pt x="381" y="720"/>
                  <a:pt x="381" y="720"/>
                  <a:pt x="381" y="720"/>
                </a:cubicBezTo>
                <a:cubicBezTo>
                  <a:pt x="377" y="725"/>
                  <a:pt x="370" y="728"/>
                  <a:pt x="364" y="728"/>
                </a:cubicBezTo>
                <a:cubicBezTo>
                  <a:pt x="358" y="728"/>
                  <a:pt x="352" y="725"/>
                  <a:pt x="347" y="720"/>
                </a:cubicBezTo>
                <a:cubicBezTo>
                  <a:pt x="8" y="381"/>
                  <a:pt x="8" y="381"/>
                  <a:pt x="8" y="381"/>
                </a:cubicBezTo>
                <a:cubicBezTo>
                  <a:pt x="3" y="376"/>
                  <a:pt x="0" y="369"/>
                  <a:pt x="0" y="364"/>
                </a:cubicBezTo>
                <a:cubicBezTo>
                  <a:pt x="0" y="358"/>
                  <a:pt x="3" y="351"/>
                  <a:pt x="8" y="347"/>
                </a:cubicBezTo>
                <a:cubicBezTo>
                  <a:pt x="347" y="7"/>
                  <a:pt x="347" y="7"/>
                  <a:pt x="347" y="7"/>
                </a:cubicBezTo>
                <a:cubicBezTo>
                  <a:pt x="352" y="3"/>
                  <a:pt x="358" y="0"/>
                  <a:pt x="364" y="0"/>
                </a:cubicBezTo>
                <a:cubicBezTo>
                  <a:pt x="370" y="0"/>
                  <a:pt x="377" y="3"/>
                  <a:pt x="381" y="7"/>
                </a:cubicBezTo>
                <a:cubicBezTo>
                  <a:pt x="417" y="44"/>
                  <a:pt x="417" y="44"/>
                  <a:pt x="417" y="44"/>
                </a:cubicBezTo>
                <a:cubicBezTo>
                  <a:pt x="422" y="48"/>
                  <a:pt x="425" y="54"/>
                  <a:pt x="425" y="60"/>
                </a:cubicBezTo>
                <a:cubicBezTo>
                  <a:pt x="425" y="66"/>
                  <a:pt x="422" y="73"/>
                  <a:pt x="417" y="7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pic>
        <p:nvPicPr>
          <p:cNvPr id="12" name="Afbeelding 8">
            <a:extLst>
              <a:ext uri="{FF2B5EF4-FFF2-40B4-BE49-F238E27FC236}">
                <a16:creationId xmlns:a16="http://schemas.microsoft.com/office/drawing/2014/main" id="{8739C1C0-0BC7-AE41-9F48-9EA4D808CDC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0573" y="-187559"/>
            <a:ext cx="2424244" cy="1348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9539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>
        <p:push dir="r"/>
      </p:transition>
    </mc:Choice>
    <mc:Fallback xmlns="">
      <p:transition>
        <p:push dir="r"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E20BE4F2-4DFA-3E42-A024-F597025B6CB4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636104" y="2197405"/>
            <a:ext cx="815008" cy="131334"/>
          </a:xfrm>
          <a:prstGeom prst="rect">
            <a:avLst/>
          </a:prstGeom>
          <a:solidFill>
            <a:srgbClr val="F59A1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3" name="Title 19">
            <a:extLst>
              <a:ext uri="{FF2B5EF4-FFF2-40B4-BE49-F238E27FC236}">
                <a16:creationId xmlns:a16="http://schemas.microsoft.com/office/drawing/2014/main" id="{50F3F363-95F8-844E-915C-9FBF542E4B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181" y="1378173"/>
            <a:ext cx="10515600" cy="590931"/>
          </a:xfrm>
        </p:spPr>
        <p:txBody>
          <a:bodyPr anchor="t" anchorCtr="0">
            <a:spAutoFit/>
          </a:bodyPr>
          <a:lstStyle>
            <a:lvl1pPr>
              <a:defRPr>
                <a:solidFill>
                  <a:srgbClr val="F59A18"/>
                </a:solidFill>
              </a:defRPr>
            </a:lvl1pPr>
          </a:lstStyle>
          <a:p>
            <a:r>
              <a:rPr lang="en-US"/>
              <a:t>About us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BD86FFDE-035A-614F-B91F-636118F162B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629603" y="2197405"/>
            <a:ext cx="8905875" cy="374391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solidFill>
                  <a:schemeClr val="accent4"/>
                </a:solidFill>
              </a:defRPr>
            </a:lvl1pPr>
            <a:lvl2pPr marL="457200" indent="0">
              <a:buFontTx/>
              <a:buNone/>
              <a:defRPr sz="1800">
                <a:solidFill>
                  <a:schemeClr val="accent4"/>
                </a:solidFill>
              </a:defRPr>
            </a:lvl2pPr>
            <a:lvl3pPr marL="914400" indent="0">
              <a:buFontTx/>
              <a:buNone/>
              <a:defRPr sz="1800">
                <a:solidFill>
                  <a:schemeClr val="accent4"/>
                </a:solidFill>
              </a:defRPr>
            </a:lvl3pPr>
            <a:lvl4pPr marL="1371600" indent="0">
              <a:buFontTx/>
              <a:buNone/>
              <a:defRPr sz="1800">
                <a:solidFill>
                  <a:schemeClr val="accent4"/>
                </a:solidFill>
              </a:defRPr>
            </a:lvl4pPr>
            <a:lvl5pPr marL="1828800" indent="0">
              <a:buFontTx/>
              <a:buNone/>
              <a:defRPr sz="1800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24AA3F3A-29EB-474C-9DF0-2AABF2B17F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26784" y="6385378"/>
            <a:ext cx="478323" cy="33609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 b="1">
                <a:solidFill>
                  <a:srgbClr val="F59A18"/>
                </a:solidFill>
                <a:latin typeface="Brown" panose="02000000000000000000" pitchFamily="2" charset="77"/>
                <a:ea typeface="Helvetica 55 Roman" panose="02000503000000020004" pitchFamily="2" charset="0"/>
                <a:cs typeface="Helvetica 55 Roman" panose="02000503000000020004" pitchFamily="2" charset="0"/>
              </a:defRPr>
            </a:lvl1pPr>
          </a:lstStyle>
          <a:p>
            <a:fld id="{233E1F8A-623D-F543-9B8C-2A7B255C069A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23" name="Date Placeholder 18">
            <a:extLst>
              <a:ext uri="{FF2B5EF4-FFF2-40B4-BE49-F238E27FC236}">
                <a16:creationId xmlns:a16="http://schemas.microsoft.com/office/drawing/2014/main" id="{FCB851C6-8B3E-1A44-9DFC-DFE7630E10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54181" y="6385377"/>
            <a:ext cx="17278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4"/>
                </a:solidFill>
                <a:latin typeface="Bai Jamjuree" pitchFamily="2" charset="-34"/>
                <a:ea typeface="Helvetica 55 Roman" panose="02000503000000020004" pitchFamily="2" charset="0"/>
                <a:cs typeface="Bai Jamjuree" pitchFamily="2" charset="-34"/>
              </a:defRPr>
            </a:lvl1pPr>
          </a:lstStyle>
          <a:p>
            <a:fld id="{16935AEE-6642-B04E-B376-7A3ECC3A0D65}" type="datetime3">
              <a:t>8 October 20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780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>
        <p:push dir="r"/>
      </p:transition>
    </mc:Choice>
    <mc:Fallback xmlns="">
      <p:transition>
        <p:push dir="r"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19979011-5858-F247-9AB7-BEFF12FD2ED0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636104" y="2197405"/>
            <a:ext cx="815008" cy="131334"/>
          </a:xfrm>
          <a:prstGeom prst="rect">
            <a:avLst/>
          </a:prstGeom>
          <a:solidFill>
            <a:srgbClr val="F59A1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5" name="Title 19">
            <a:extLst>
              <a:ext uri="{FF2B5EF4-FFF2-40B4-BE49-F238E27FC236}">
                <a16:creationId xmlns:a16="http://schemas.microsoft.com/office/drawing/2014/main" id="{D1136C23-AF52-BB4E-90A8-6EAE1E1A12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181" y="1378173"/>
            <a:ext cx="10515600" cy="590931"/>
          </a:xfrm>
        </p:spPr>
        <p:txBody>
          <a:bodyPr anchor="t" anchorCtr="0">
            <a:spAutoFit/>
          </a:bodyPr>
          <a:lstStyle>
            <a:lvl1pPr>
              <a:defRPr>
                <a:solidFill>
                  <a:srgbClr val="F59A18"/>
                </a:solidFill>
              </a:defRPr>
            </a:lvl1pPr>
          </a:lstStyle>
          <a:p>
            <a:r>
              <a:rPr lang="en-US"/>
              <a:t>About us</a:t>
            </a:r>
          </a:p>
        </p:txBody>
      </p:sp>
      <p:sp>
        <p:nvSpPr>
          <p:cNvPr id="16" name="Date Placeholder 18">
            <a:extLst>
              <a:ext uri="{FF2B5EF4-FFF2-40B4-BE49-F238E27FC236}">
                <a16:creationId xmlns:a16="http://schemas.microsoft.com/office/drawing/2014/main" id="{B25D9B5B-5FDE-0B4E-9715-BF54AC2354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54181" y="6356349"/>
            <a:ext cx="17278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4"/>
                </a:solidFill>
                <a:latin typeface="Bai Jamjuree" pitchFamily="2" charset="-34"/>
                <a:ea typeface="Helvetica 55 Roman" panose="02000503000000020004" pitchFamily="2" charset="0"/>
                <a:cs typeface="Bai Jamjuree" pitchFamily="2" charset="-34"/>
              </a:defRPr>
            </a:lvl1pPr>
          </a:lstStyle>
          <a:p>
            <a:fld id="{81B7F6E2-BFEC-D345-9712-17B58FBE2D22}" type="datetime3">
              <a:t>8 October 2019</a:t>
            </a:fld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E5145A38-C666-6849-A798-A43F7663D9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26784" y="6385378"/>
            <a:ext cx="478323" cy="33609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 b="1">
                <a:solidFill>
                  <a:srgbClr val="F59A18"/>
                </a:solidFill>
                <a:latin typeface="Brown" panose="02000000000000000000" pitchFamily="2" charset="77"/>
                <a:ea typeface="Helvetica 55 Roman" panose="02000503000000020004" pitchFamily="2" charset="0"/>
                <a:cs typeface="Helvetica 55 Roman" panose="02000503000000020004" pitchFamily="2" charset="0"/>
              </a:defRPr>
            </a:lvl1pPr>
          </a:lstStyle>
          <a:p>
            <a:fld id="{233E1F8A-623D-F543-9B8C-2A7B255C069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3076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>
        <p:push dir="r"/>
      </p:transition>
    </mc:Choice>
    <mc:Fallback xmlns="">
      <p:transition>
        <p:push dir="r"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BF3D6D-7D9A-4530-A537-0D6DD4DF2F35}" type="datetimeFigureOut">
              <a:rPr lang="en-US" smtClean="0"/>
              <a:t>10/8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E374E3-2222-408E-BAB6-4DE3AF7B84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726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>
        <p:push dir="r"/>
      </p:transition>
    </mc:Choice>
    <mc:Fallback xmlns="">
      <p:transition>
        <p:push dir="r"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elay 9">
            <a:hlinkClick r:id="" action="ppaction://hlinkshowjump?jump=previousslide"/>
          </p:cNvPr>
          <p:cNvSpPr>
            <a:spLocks noEditPoints="1"/>
          </p:cNvSpPr>
          <p:nvPr userDrawn="1"/>
        </p:nvSpPr>
        <p:spPr bwMode="auto">
          <a:xfrm flipH="1">
            <a:off x="10700411" y="6452866"/>
            <a:ext cx="226371" cy="221156"/>
          </a:xfrm>
          <a:prstGeom prst="flowChartDelay">
            <a:avLst/>
          </a:prstGeom>
          <a:solidFill>
            <a:srgbClr val="F59A1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3" name="Delay 12">
            <a:hlinkClick r:id="" action="ppaction://hlinkshowjump?jump=nextslide"/>
          </p:cNvPr>
          <p:cNvSpPr>
            <a:spLocks noEditPoints="1"/>
          </p:cNvSpPr>
          <p:nvPr userDrawn="1"/>
        </p:nvSpPr>
        <p:spPr bwMode="auto">
          <a:xfrm rot="10800000" flipH="1">
            <a:off x="11413736" y="6457628"/>
            <a:ext cx="224082" cy="221156"/>
          </a:xfrm>
          <a:prstGeom prst="flowChartDelay">
            <a:avLst/>
          </a:prstGeom>
          <a:solidFill>
            <a:srgbClr val="F59A1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>
              <a:solidFill>
                <a:schemeClr val="bg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1212413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2751589"/>
            <a:ext cx="10515600" cy="34253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 userDrawn="1">
            <p:custDataLst>
              <p:tags r:id="rId8"/>
            </p:custDataLst>
          </p:nvPr>
        </p:nvSpPr>
        <p:spPr>
          <a:xfrm>
            <a:off x="554182" y="6306951"/>
            <a:ext cx="11083636" cy="4571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9" name="Freeform 8">
            <a:hlinkClick r:id="" action="ppaction://hlinkshowjump?jump=previousslide"/>
          </p:cNvPr>
          <p:cNvSpPr>
            <a:spLocks/>
          </p:cNvSpPr>
          <p:nvPr userDrawn="1"/>
        </p:nvSpPr>
        <p:spPr bwMode="auto">
          <a:xfrm>
            <a:off x="10788556" y="6518601"/>
            <a:ext cx="52373" cy="89686"/>
          </a:xfrm>
          <a:custGeom>
            <a:avLst/>
            <a:gdLst>
              <a:gd name="T0" fmla="*/ 417 w 425"/>
              <a:gd name="T1" fmla="*/ 77 h 728"/>
              <a:gd name="T2" fmla="*/ 131 w 425"/>
              <a:gd name="T3" fmla="*/ 364 h 728"/>
              <a:gd name="T4" fmla="*/ 417 w 425"/>
              <a:gd name="T5" fmla="*/ 650 h 728"/>
              <a:gd name="T6" fmla="*/ 425 w 425"/>
              <a:gd name="T7" fmla="*/ 667 h 728"/>
              <a:gd name="T8" fmla="*/ 417 w 425"/>
              <a:gd name="T9" fmla="*/ 684 h 728"/>
              <a:gd name="T10" fmla="*/ 381 w 425"/>
              <a:gd name="T11" fmla="*/ 720 h 728"/>
              <a:gd name="T12" fmla="*/ 364 w 425"/>
              <a:gd name="T13" fmla="*/ 728 h 728"/>
              <a:gd name="T14" fmla="*/ 347 w 425"/>
              <a:gd name="T15" fmla="*/ 720 h 728"/>
              <a:gd name="T16" fmla="*/ 8 w 425"/>
              <a:gd name="T17" fmla="*/ 381 h 728"/>
              <a:gd name="T18" fmla="*/ 0 w 425"/>
              <a:gd name="T19" fmla="*/ 364 h 728"/>
              <a:gd name="T20" fmla="*/ 8 w 425"/>
              <a:gd name="T21" fmla="*/ 347 h 728"/>
              <a:gd name="T22" fmla="*/ 347 w 425"/>
              <a:gd name="T23" fmla="*/ 7 h 728"/>
              <a:gd name="T24" fmla="*/ 364 w 425"/>
              <a:gd name="T25" fmla="*/ 0 h 728"/>
              <a:gd name="T26" fmla="*/ 381 w 425"/>
              <a:gd name="T27" fmla="*/ 7 h 728"/>
              <a:gd name="T28" fmla="*/ 417 w 425"/>
              <a:gd name="T29" fmla="*/ 44 h 728"/>
              <a:gd name="T30" fmla="*/ 425 w 425"/>
              <a:gd name="T31" fmla="*/ 60 h 728"/>
              <a:gd name="T32" fmla="*/ 417 w 425"/>
              <a:gd name="T33" fmla="*/ 77 h 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25" h="728">
                <a:moveTo>
                  <a:pt x="417" y="77"/>
                </a:moveTo>
                <a:cubicBezTo>
                  <a:pt x="131" y="364"/>
                  <a:pt x="131" y="364"/>
                  <a:pt x="131" y="364"/>
                </a:cubicBezTo>
                <a:cubicBezTo>
                  <a:pt x="417" y="650"/>
                  <a:pt x="417" y="650"/>
                  <a:pt x="417" y="650"/>
                </a:cubicBezTo>
                <a:cubicBezTo>
                  <a:pt x="422" y="655"/>
                  <a:pt x="425" y="661"/>
                  <a:pt x="425" y="667"/>
                </a:cubicBezTo>
                <a:cubicBezTo>
                  <a:pt x="425" y="673"/>
                  <a:pt x="422" y="680"/>
                  <a:pt x="417" y="684"/>
                </a:cubicBezTo>
                <a:cubicBezTo>
                  <a:pt x="381" y="720"/>
                  <a:pt x="381" y="720"/>
                  <a:pt x="381" y="720"/>
                </a:cubicBezTo>
                <a:cubicBezTo>
                  <a:pt x="377" y="725"/>
                  <a:pt x="370" y="728"/>
                  <a:pt x="364" y="728"/>
                </a:cubicBezTo>
                <a:cubicBezTo>
                  <a:pt x="358" y="728"/>
                  <a:pt x="352" y="725"/>
                  <a:pt x="347" y="720"/>
                </a:cubicBezTo>
                <a:cubicBezTo>
                  <a:pt x="8" y="381"/>
                  <a:pt x="8" y="381"/>
                  <a:pt x="8" y="381"/>
                </a:cubicBezTo>
                <a:cubicBezTo>
                  <a:pt x="3" y="376"/>
                  <a:pt x="0" y="369"/>
                  <a:pt x="0" y="364"/>
                </a:cubicBezTo>
                <a:cubicBezTo>
                  <a:pt x="0" y="358"/>
                  <a:pt x="3" y="351"/>
                  <a:pt x="8" y="347"/>
                </a:cubicBezTo>
                <a:cubicBezTo>
                  <a:pt x="347" y="7"/>
                  <a:pt x="347" y="7"/>
                  <a:pt x="347" y="7"/>
                </a:cubicBezTo>
                <a:cubicBezTo>
                  <a:pt x="352" y="3"/>
                  <a:pt x="358" y="0"/>
                  <a:pt x="364" y="0"/>
                </a:cubicBezTo>
                <a:cubicBezTo>
                  <a:pt x="370" y="0"/>
                  <a:pt x="377" y="3"/>
                  <a:pt x="381" y="7"/>
                </a:cubicBezTo>
                <a:cubicBezTo>
                  <a:pt x="417" y="44"/>
                  <a:pt x="417" y="44"/>
                  <a:pt x="417" y="44"/>
                </a:cubicBezTo>
                <a:cubicBezTo>
                  <a:pt x="422" y="48"/>
                  <a:pt x="425" y="54"/>
                  <a:pt x="425" y="60"/>
                </a:cubicBezTo>
                <a:cubicBezTo>
                  <a:pt x="425" y="66"/>
                  <a:pt x="422" y="73"/>
                  <a:pt x="417" y="7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2" name="Freeform 11">
            <a:hlinkClick r:id="" action="ppaction://hlinkshowjump?jump=nextslide"/>
          </p:cNvPr>
          <p:cNvSpPr>
            <a:spLocks/>
          </p:cNvSpPr>
          <p:nvPr userDrawn="1"/>
        </p:nvSpPr>
        <p:spPr bwMode="auto">
          <a:xfrm flipH="1">
            <a:off x="11490961" y="6518601"/>
            <a:ext cx="52373" cy="89686"/>
          </a:xfrm>
          <a:custGeom>
            <a:avLst/>
            <a:gdLst>
              <a:gd name="T0" fmla="*/ 417 w 425"/>
              <a:gd name="T1" fmla="*/ 77 h 728"/>
              <a:gd name="T2" fmla="*/ 131 w 425"/>
              <a:gd name="T3" fmla="*/ 364 h 728"/>
              <a:gd name="T4" fmla="*/ 417 w 425"/>
              <a:gd name="T5" fmla="*/ 650 h 728"/>
              <a:gd name="T6" fmla="*/ 425 w 425"/>
              <a:gd name="T7" fmla="*/ 667 h 728"/>
              <a:gd name="T8" fmla="*/ 417 w 425"/>
              <a:gd name="T9" fmla="*/ 684 h 728"/>
              <a:gd name="T10" fmla="*/ 381 w 425"/>
              <a:gd name="T11" fmla="*/ 720 h 728"/>
              <a:gd name="T12" fmla="*/ 364 w 425"/>
              <a:gd name="T13" fmla="*/ 728 h 728"/>
              <a:gd name="T14" fmla="*/ 347 w 425"/>
              <a:gd name="T15" fmla="*/ 720 h 728"/>
              <a:gd name="T16" fmla="*/ 8 w 425"/>
              <a:gd name="T17" fmla="*/ 381 h 728"/>
              <a:gd name="T18" fmla="*/ 0 w 425"/>
              <a:gd name="T19" fmla="*/ 364 h 728"/>
              <a:gd name="T20" fmla="*/ 8 w 425"/>
              <a:gd name="T21" fmla="*/ 347 h 728"/>
              <a:gd name="T22" fmla="*/ 347 w 425"/>
              <a:gd name="T23" fmla="*/ 7 h 728"/>
              <a:gd name="T24" fmla="*/ 364 w 425"/>
              <a:gd name="T25" fmla="*/ 0 h 728"/>
              <a:gd name="T26" fmla="*/ 381 w 425"/>
              <a:gd name="T27" fmla="*/ 7 h 728"/>
              <a:gd name="T28" fmla="*/ 417 w 425"/>
              <a:gd name="T29" fmla="*/ 44 h 728"/>
              <a:gd name="T30" fmla="*/ 425 w 425"/>
              <a:gd name="T31" fmla="*/ 60 h 728"/>
              <a:gd name="T32" fmla="*/ 417 w 425"/>
              <a:gd name="T33" fmla="*/ 77 h 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25" h="728">
                <a:moveTo>
                  <a:pt x="417" y="77"/>
                </a:moveTo>
                <a:cubicBezTo>
                  <a:pt x="131" y="364"/>
                  <a:pt x="131" y="364"/>
                  <a:pt x="131" y="364"/>
                </a:cubicBezTo>
                <a:cubicBezTo>
                  <a:pt x="417" y="650"/>
                  <a:pt x="417" y="650"/>
                  <a:pt x="417" y="650"/>
                </a:cubicBezTo>
                <a:cubicBezTo>
                  <a:pt x="422" y="655"/>
                  <a:pt x="425" y="661"/>
                  <a:pt x="425" y="667"/>
                </a:cubicBezTo>
                <a:cubicBezTo>
                  <a:pt x="425" y="673"/>
                  <a:pt x="422" y="680"/>
                  <a:pt x="417" y="684"/>
                </a:cubicBezTo>
                <a:cubicBezTo>
                  <a:pt x="381" y="720"/>
                  <a:pt x="381" y="720"/>
                  <a:pt x="381" y="720"/>
                </a:cubicBezTo>
                <a:cubicBezTo>
                  <a:pt x="377" y="725"/>
                  <a:pt x="370" y="728"/>
                  <a:pt x="364" y="728"/>
                </a:cubicBezTo>
                <a:cubicBezTo>
                  <a:pt x="358" y="728"/>
                  <a:pt x="352" y="725"/>
                  <a:pt x="347" y="720"/>
                </a:cubicBezTo>
                <a:cubicBezTo>
                  <a:pt x="8" y="381"/>
                  <a:pt x="8" y="381"/>
                  <a:pt x="8" y="381"/>
                </a:cubicBezTo>
                <a:cubicBezTo>
                  <a:pt x="3" y="376"/>
                  <a:pt x="0" y="369"/>
                  <a:pt x="0" y="364"/>
                </a:cubicBezTo>
                <a:cubicBezTo>
                  <a:pt x="0" y="358"/>
                  <a:pt x="3" y="351"/>
                  <a:pt x="8" y="347"/>
                </a:cubicBezTo>
                <a:cubicBezTo>
                  <a:pt x="347" y="7"/>
                  <a:pt x="347" y="7"/>
                  <a:pt x="347" y="7"/>
                </a:cubicBezTo>
                <a:cubicBezTo>
                  <a:pt x="352" y="3"/>
                  <a:pt x="358" y="0"/>
                  <a:pt x="364" y="0"/>
                </a:cubicBezTo>
                <a:cubicBezTo>
                  <a:pt x="370" y="0"/>
                  <a:pt x="377" y="3"/>
                  <a:pt x="381" y="7"/>
                </a:cubicBezTo>
                <a:cubicBezTo>
                  <a:pt x="417" y="44"/>
                  <a:pt x="417" y="44"/>
                  <a:pt x="417" y="44"/>
                </a:cubicBezTo>
                <a:cubicBezTo>
                  <a:pt x="422" y="48"/>
                  <a:pt x="425" y="54"/>
                  <a:pt x="425" y="60"/>
                </a:cubicBezTo>
                <a:cubicBezTo>
                  <a:pt x="425" y="66"/>
                  <a:pt x="422" y="73"/>
                  <a:pt x="417" y="7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4" name="Date Placeholder 1"/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8514720" y="6407943"/>
            <a:ext cx="2091207" cy="261938"/>
          </a:xfrm>
          <a:prstGeom prst="rect">
            <a:avLst/>
          </a:prstGeom>
          <a:noFill/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i="0" kern="1200">
                <a:solidFill>
                  <a:schemeClr val="accent4"/>
                </a:solidFill>
                <a:effectLst/>
                <a:latin typeface="Bai Jamjuree Medium" pitchFamily="2" charset="-34"/>
                <a:ea typeface="+mn-ea"/>
                <a:cs typeface="Bai Jamjuree Medium" pitchFamily="2" charset="-34"/>
              </a:rPr>
              <a:t>www.nobleo-technology.nl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1ECE624-5FA2-8347-9E22-24F8FE096C0C}"/>
              </a:ext>
            </a:extLst>
          </p:cNvPr>
          <p:cNvSpPr/>
          <p:nvPr userDrawn="1"/>
        </p:nvSpPr>
        <p:spPr>
          <a:xfrm>
            <a:off x="0" y="1"/>
            <a:ext cx="12192000" cy="9731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Afbeelding 8">
            <a:extLst>
              <a:ext uri="{FF2B5EF4-FFF2-40B4-BE49-F238E27FC236}">
                <a16:creationId xmlns:a16="http://schemas.microsoft.com/office/drawing/2014/main" id="{AA6BF12F-FC7B-DA40-92D4-2A2CC889585F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490573" y="-187559"/>
            <a:ext cx="2424244" cy="134824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DE039E9-5F66-B94F-8C47-79AEC1914C01}"/>
              </a:ext>
            </a:extLst>
          </p:cNvPr>
          <p:cNvSpPr txBox="1"/>
          <p:nvPr userDrawn="1"/>
        </p:nvSpPr>
        <p:spPr>
          <a:xfrm>
            <a:off x="10298486" y="309043"/>
            <a:ext cx="1256591" cy="43858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>
              <a:lnSpc>
                <a:spcPts val="880"/>
              </a:lnSpc>
            </a:pPr>
            <a:r>
              <a:rPr lang="en-US" sz="900" b="0" i="0">
                <a:solidFill>
                  <a:schemeClr val="bg1"/>
                </a:solidFill>
                <a:latin typeface="Bai Jamjuree Medium" pitchFamily="2" charset="-34"/>
                <a:cs typeface="Bai Jamjuree Medium" pitchFamily="2" charset="-34"/>
              </a:rPr>
              <a:t>autonomous</a:t>
            </a:r>
          </a:p>
          <a:p>
            <a:pPr algn="r">
              <a:lnSpc>
                <a:spcPts val="880"/>
              </a:lnSpc>
            </a:pPr>
            <a:r>
              <a:rPr lang="en-US" sz="900" b="0" i="0">
                <a:solidFill>
                  <a:schemeClr val="bg1"/>
                </a:solidFill>
                <a:latin typeface="Bai Jamjuree Medium" pitchFamily="2" charset="-34"/>
                <a:cs typeface="Bai Jamjuree Medium" pitchFamily="2" charset="-34"/>
              </a:rPr>
              <a:t>intelligent</a:t>
            </a:r>
          </a:p>
          <a:p>
            <a:pPr algn="r">
              <a:lnSpc>
                <a:spcPts val="880"/>
              </a:lnSpc>
            </a:pPr>
            <a:r>
              <a:rPr lang="en-US" sz="900" b="0" i="0">
                <a:solidFill>
                  <a:schemeClr val="bg1"/>
                </a:solidFill>
                <a:latin typeface="Bai Jamjuree Medium" pitchFamily="2" charset="-34"/>
                <a:cs typeface="Bai Jamjuree Medium" pitchFamily="2" charset="-34"/>
              </a:rPr>
              <a:t>systems</a:t>
            </a:r>
          </a:p>
        </p:txBody>
      </p:sp>
      <p:sp>
        <p:nvSpPr>
          <p:cNvPr id="22" name="Date Placeholder 18">
            <a:extLst>
              <a:ext uri="{FF2B5EF4-FFF2-40B4-BE49-F238E27FC236}">
                <a16:creationId xmlns:a16="http://schemas.microsoft.com/office/drawing/2014/main" id="{B99AB6E9-7F9C-DA46-9CC1-B664B505DAE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54181" y="6373610"/>
            <a:ext cx="13859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4"/>
                </a:solidFill>
                <a:latin typeface="Bai Jamjuree" pitchFamily="2" charset="-34"/>
                <a:ea typeface="Helvetica 55 Roman" panose="02000503000000020004" pitchFamily="2" charset="0"/>
                <a:cs typeface="Bai Jamjuree" pitchFamily="2" charset="-34"/>
              </a:defRPr>
            </a:lvl1pPr>
          </a:lstStyle>
          <a:p>
            <a:fld id="{EE9A5CD4-8B84-2B47-9052-A627AE7ADAE2}" type="datetime3">
              <a:t>8 October 2019</a:t>
            </a:fld>
            <a:endParaRPr lang="en-US"/>
          </a:p>
        </p:txBody>
      </p:sp>
      <p:sp>
        <p:nvSpPr>
          <p:cNvPr id="23" name="Footer Placeholder 24">
            <a:extLst>
              <a:ext uri="{FF2B5EF4-FFF2-40B4-BE49-F238E27FC236}">
                <a16:creationId xmlns:a16="http://schemas.microsoft.com/office/drawing/2014/main" id="{8E5502C4-3FA2-8D49-9506-A6120E26897A}"/>
              </a:ext>
            </a:extLst>
          </p:cNvPr>
          <p:cNvSpPr txBox="1">
            <a:spLocks/>
          </p:cNvSpPr>
          <p:nvPr userDrawn="1"/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accent4"/>
                </a:solidFill>
                <a:latin typeface="Brown" panose="02000000000000000000" pitchFamily="2" charset="77"/>
                <a:ea typeface="Helvetica 55 Roman" panose="02000503000000020004" pitchFamily="2" charset="0"/>
                <a:cs typeface="Helvetica 55 Roman" panose="0200050300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latin typeface="Bai Jamjuree" pitchFamily="2" charset="-34"/>
                <a:cs typeface="Bai Jamjuree" pitchFamily="2" charset="-34"/>
              </a:rPr>
              <a:t>Naam project of klant</a:t>
            </a:r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F9D55E98-D365-3F4F-8F21-56A626F2D8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26784" y="6385378"/>
            <a:ext cx="478323" cy="33609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 b="1">
                <a:solidFill>
                  <a:srgbClr val="F59A18"/>
                </a:solidFill>
                <a:latin typeface="Brown" panose="02000000000000000000" pitchFamily="2" charset="77"/>
                <a:ea typeface="Helvetica 55 Roman" panose="02000503000000020004" pitchFamily="2" charset="0"/>
                <a:cs typeface="Helvetica 55 Roman" panose="02000503000000020004" pitchFamily="2" charset="0"/>
              </a:defRPr>
            </a:lvl1pPr>
          </a:lstStyle>
          <a:p>
            <a:fld id="{233E1F8A-623D-F543-9B8C-2A7B255C069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34333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700" r:id="rId2"/>
    <p:sldLayoutId id="2147483701" r:id="rId3"/>
    <p:sldLayoutId id="2147483654" r:id="rId4"/>
    <p:sldLayoutId id="2147483696" r:id="rId5"/>
    <p:sldLayoutId id="2147483702" r:id="rId6"/>
  </p:sldLayoutIdLst>
  <mc:AlternateContent xmlns:mc="http://schemas.openxmlformats.org/markup-compatibility/2006" xmlns:p14="http://schemas.microsoft.com/office/powerpoint/2010/main">
    <mc:Choice Requires="p14">
      <p:transition p14:dur="0">
        <p:push dir="r"/>
      </p:transition>
    </mc:Choice>
    <mc:Fallback xmlns="">
      <p:transition>
        <p:push dir="r"/>
      </p:transition>
    </mc:Fallback>
  </mc:AlternateConten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accent1"/>
          </a:solidFill>
          <a:latin typeface="Bai Jamjuree Medium" pitchFamily="2" charset="-34"/>
          <a:ea typeface="Helvetica 55 Roman" panose="02000503000000020004" pitchFamily="2" charset="0"/>
          <a:cs typeface="Bai Jamjuree Medium" pitchFamily="2" charset="-34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accent4"/>
          </a:solidFill>
          <a:latin typeface="Bai Jamjuree" pitchFamily="2" charset="-34"/>
          <a:ea typeface="Helvetica 55 Roman" panose="02000503000000020004" pitchFamily="2" charset="0"/>
          <a:cs typeface="Bai Jamjuree" pitchFamily="2" charset="-34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accent4"/>
          </a:solidFill>
          <a:latin typeface="Bai Jamjuree" pitchFamily="2" charset="-34"/>
          <a:ea typeface="Helvetica 55 Roman" panose="02000503000000020004" pitchFamily="2" charset="0"/>
          <a:cs typeface="Bai Jamjuree" pitchFamily="2" charset="-34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accent4"/>
          </a:solidFill>
          <a:latin typeface="Bai Jamjuree" pitchFamily="2" charset="-34"/>
          <a:ea typeface="Helvetica 55 Roman" panose="02000503000000020004" pitchFamily="2" charset="0"/>
          <a:cs typeface="Bai Jamjuree" pitchFamily="2" charset="-34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accent4"/>
          </a:solidFill>
          <a:latin typeface="Bai Jamjuree" pitchFamily="2" charset="-34"/>
          <a:ea typeface="Helvetica 55 Roman" panose="02000503000000020004" pitchFamily="2" charset="0"/>
          <a:cs typeface="Bai Jamjuree" pitchFamily="2" charset="-34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accent4"/>
          </a:solidFill>
          <a:latin typeface="Bai Jamjuree" pitchFamily="2" charset="-34"/>
          <a:ea typeface="Helvetica 55 Roman" panose="02000503000000020004" pitchFamily="2" charset="0"/>
          <a:cs typeface="Bai Jamjuree" pitchFamily="2" charset="-34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20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ros2/rclcpp/pull/873/commits/c102044859754b23d675405d9e75273da7956932" TargetMode="Externa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293532-9275-49E0-973D-5CCE96F919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181" y="1378173"/>
            <a:ext cx="10515600" cy="604781"/>
          </a:xfrm>
        </p:spPr>
        <p:txBody>
          <a:bodyPr/>
          <a:lstStyle/>
          <a:p>
            <a:r>
              <a:rPr lang="en-US">
                <a:cs typeface="Bai Jamjuree Medium"/>
              </a:rPr>
              <a:t>User code level (pseudo)</a:t>
            </a:r>
            <a:endParaRPr lang="en-US" err="1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D91741-3ECF-4C2D-A07F-6445E88E3AA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629603" y="2197405"/>
            <a:ext cx="8905875" cy="3743910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Bai Jamjuree"/>
                <a:cs typeface="Bai Jamjuree"/>
              </a:rPr>
              <a:t>main() {</a:t>
            </a:r>
          </a:p>
          <a:p>
            <a:r>
              <a:rPr lang="en-US">
                <a:latin typeface="Bai Jamjuree"/>
                <a:cs typeface="Bai Jamjuree"/>
              </a:rPr>
              <a:t> </a:t>
            </a:r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  <a:latin typeface="Bai Jamjuree"/>
                <a:cs typeface="Bai Jamjuree"/>
              </a:rPr>
              <a:t>executor </a:t>
            </a:r>
            <a:r>
              <a:rPr lang="en-US" i="1">
                <a:latin typeface="Bai Jamjuree"/>
                <a:cs typeface="Bai Jamjuree"/>
              </a:rPr>
              <a:t>executor</a:t>
            </a:r>
            <a:r>
              <a:rPr lang="en-US">
                <a:latin typeface="Bai Jamjuree"/>
                <a:cs typeface="Bai Jamjuree"/>
              </a:rPr>
              <a:t>;</a:t>
            </a:r>
          </a:p>
          <a:p>
            <a:r>
              <a:rPr lang="en-US">
                <a:latin typeface="Bai Jamjuree"/>
                <a:cs typeface="Bai Jamjuree"/>
              </a:rPr>
              <a:t>  </a:t>
            </a:r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  <a:latin typeface="Bai Jamjuree"/>
                <a:cs typeface="Bai Jamjuree"/>
              </a:rPr>
              <a:t>auto</a:t>
            </a:r>
            <a:r>
              <a:rPr lang="en-US">
                <a:latin typeface="Bai Jamjuree"/>
                <a:cs typeface="Bai Jamjuree"/>
              </a:rPr>
              <a:t> </a:t>
            </a:r>
            <a:r>
              <a:rPr lang="en-US" b="1">
                <a:latin typeface="Bai Jamjuree"/>
                <a:cs typeface="Bai Jamjuree"/>
              </a:rPr>
              <a:t>node </a:t>
            </a:r>
            <a:r>
              <a:rPr lang="en-US">
                <a:latin typeface="Bai Jamjuree"/>
                <a:cs typeface="Bai Jamjuree"/>
              </a:rPr>
              <a:t>= create_node;</a:t>
            </a:r>
          </a:p>
          <a:p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  <a:latin typeface="Bai Jamjuree"/>
                <a:cs typeface="Bai Jamjuree"/>
              </a:rPr>
              <a:t>  auto</a:t>
            </a:r>
            <a:r>
              <a:rPr lang="en-US">
                <a:latin typeface="Bai Jamjuree"/>
                <a:cs typeface="Bai Jamjuree"/>
              </a:rPr>
              <a:t> subscriber1= </a:t>
            </a:r>
            <a:r>
              <a:rPr lang="en-US" b="1">
                <a:latin typeface="Bai Jamjuree"/>
                <a:cs typeface="Bai Jamjuree"/>
              </a:rPr>
              <a:t>node</a:t>
            </a:r>
            <a:r>
              <a:rPr lang="en-US">
                <a:latin typeface="Bai Jamjuree"/>
                <a:cs typeface="Bai Jamjuree"/>
              </a:rPr>
              <a:t>-&gt;create_subscription;</a:t>
            </a:r>
            <a:endParaRPr lang="en-US">
              <a:latin typeface="Bai Jamjuree"/>
            </a:endParaRPr>
          </a:p>
          <a:p>
            <a:r>
              <a:rPr lang="en-US">
                <a:latin typeface="Bai Jamjuree"/>
                <a:cs typeface="Bai Jamjuree"/>
              </a:rPr>
              <a:t>  </a:t>
            </a:r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  <a:latin typeface="Bai Jamjuree"/>
                <a:cs typeface="Bai Jamjuree"/>
              </a:rPr>
              <a:t>auto</a:t>
            </a:r>
            <a:r>
              <a:rPr lang="en-US">
                <a:latin typeface="Bai Jamjuree"/>
                <a:cs typeface="Bai Jamjuree"/>
              </a:rPr>
              <a:t> publisher1 = </a:t>
            </a:r>
            <a:r>
              <a:rPr lang="en-US" b="1">
                <a:latin typeface="Bai Jamjuree"/>
                <a:cs typeface="Bai Jamjuree"/>
              </a:rPr>
              <a:t>node</a:t>
            </a:r>
            <a:r>
              <a:rPr lang="en-US">
                <a:latin typeface="Bai Jamjuree"/>
                <a:cs typeface="Bai Jamjuree"/>
              </a:rPr>
              <a:t>-&gt;create_publisher;</a:t>
            </a:r>
            <a:endParaRPr lang="en-US">
              <a:latin typeface="Bai Jamjuree"/>
            </a:endParaRPr>
          </a:p>
          <a:p>
            <a:r>
              <a:rPr lang="en-US">
                <a:latin typeface="Bai Jamjuree"/>
                <a:cs typeface="Bai Jamjuree"/>
              </a:rPr>
              <a:t>  </a:t>
            </a:r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  <a:latin typeface="Bai Jamjuree"/>
                <a:cs typeface="Bai Jamjuree"/>
              </a:rPr>
              <a:t>auto</a:t>
            </a:r>
            <a:r>
              <a:rPr lang="en-US">
                <a:latin typeface="Bai Jamjuree"/>
                <a:cs typeface="Bai Jamjuree"/>
              </a:rPr>
              <a:t> timer1 = </a:t>
            </a:r>
            <a:r>
              <a:rPr lang="en-US" b="1">
                <a:latin typeface="Bai Jamjuree"/>
                <a:cs typeface="Bai Jamjuree"/>
              </a:rPr>
              <a:t>node</a:t>
            </a:r>
            <a:r>
              <a:rPr lang="en-US">
                <a:latin typeface="Bai Jamjuree"/>
                <a:cs typeface="Bai Jamjuree"/>
              </a:rPr>
              <a:t>-&gt;create_wall_timer(</a:t>
            </a:r>
            <a:r>
              <a:rPr lang="en-US">
                <a:solidFill>
                  <a:srgbClr val="FFC000"/>
                </a:solidFill>
                <a:latin typeface="Bai Jamjuree"/>
                <a:cs typeface="Bai Jamjuree"/>
              </a:rPr>
              <a:t>1s , publisher1</a:t>
            </a:r>
            <a:r>
              <a:rPr lang="en-US">
                <a:latin typeface="Bai Jamjuree"/>
                <a:cs typeface="Bai Jamjuree"/>
              </a:rPr>
              <a:t>);</a:t>
            </a:r>
          </a:p>
          <a:p>
            <a:endParaRPr lang="en-US">
              <a:latin typeface="Bai Jamjuree"/>
              <a:cs typeface="Bai Jamjuree"/>
            </a:endParaRPr>
          </a:p>
          <a:p>
            <a:r>
              <a:rPr lang="en-US">
                <a:latin typeface="Bai Jamjuree"/>
                <a:cs typeface="Bai Jamjuree"/>
              </a:rPr>
              <a:t>  </a:t>
            </a:r>
            <a:r>
              <a:rPr lang="en-US" i="1">
                <a:latin typeface="Bai Jamjuree"/>
                <a:cs typeface="Bai Jamjuree"/>
              </a:rPr>
              <a:t>executor</a:t>
            </a:r>
            <a:r>
              <a:rPr lang="en-US">
                <a:latin typeface="Bai Jamjuree"/>
                <a:cs typeface="Bai Jamjuree"/>
              </a:rPr>
              <a:t>.add_node(</a:t>
            </a:r>
            <a:r>
              <a:rPr lang="en-US" b="1">
                <a:solidFill>
                  <a:srgbClr val="7A7A7A"/>
                </a:solidFill>
                <a:latin typeface="Bai Jamjuree"/>
                <a:cs typeface="Bai Jamjuree"/>
              </a:rPr>
              <a:t>node</a:t>
            </a:r>
            <a:r>
              <a:rPr lang="en-US">
                <a:latin typeface="Bai Jamjuree"/>
                <a:cs typeface="Bai Jamjuree"/>
              </a:rPr>
              <a:t>);</a:t>
            </a:r>
            <a:endParaRPr lang="en-US">
              <a:latin typeface="Bai Jamjuree"/>
            </a:endParaRPr>
          </a:p>
          <a:p>
            <a:r>
              <a:rPr lang="en-US">
                <a:latin typeface="Bai Jamjuree"/>
                <a:cs typeface="Bai Jamjuree"/>
              </a:rPr>
              <a:t>  </a:t>
            </a:r>
            <a:r>
              <a:rPr lang="en-US" i="1">
                <a:latin typeface="Bai Jamjuree"/>
                <a:cs typeface="Bai Jamjuree"/>
              </a:rPr>
              <a:t>executor</a:t>
            </a:r>
            <a:r>
              <a:rPr lang="en-US">
                <a:latin typeface="Bai Jamjuree"/>
                <a:cs typeface="Bai Jamjuree"/>
              </a:rPr>
              <a:t>.spin();</a:t>
            </a:r>
            <a:endParaRPr lang="en-US">
              <a:latin typeface="Bai Jamjuree"/>
            </a:endParaRPr>
          </a:p>
          <a:p>
            <a:r>
              <a:rPr lang="en-US">
                <a:latin typeface="Bai Jamjuree"/>
                <a:cs typeface="Bai Jamjuree"/>
              </a:rPr>
              <a:t>}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32FA2-DF72-406C-8238-E6DC18C4D1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33E1F8A-623D-F543-9B8C-2A7B255C069A}" type="slidenum">
              <a:rPr lang="en-US"/>
              <a:pPr/>
              <a:t>1</a:t>
            </a:fld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68CBFA4-3057-47E7-96D8-64A7EBC77B0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6935AEE-6642-B04E-B376-7A3ECC3A0D65}" type="datetime3">
              <a:t>8 October 2019</a:t>
            </a:fld>
            <a:endParaRPr lang="en-US"/>
          </a:p>
        </p:txBody>
      </p:sp>
      <p:pic>
        <p:nvPicPr>
          <p:cNvPr id="6" name="Picture 6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1C0AE6D3-BA48-4421-8DDB-59C35D0C92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45147" y="2198935"/>
            <a:ext cx="3620947" cy="1458270"/>
          </a:xfrm>
          <a:prstGeom prst="rect">
            <a:avLst/>
          </a:prstGeom>
        </p:spPr>
      </p:pic>
      <p:pic>
        <p:nvPicPr>
          <p:cNvPr id="8" name="Picture 8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D83DFE58-E9FC-4D74-8C0A-FF146C7640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75362" y="4038515"/>
            <a:ext cx="2791427" cy="2098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9516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>
        <p:push dir="r"/>
      </p:transition>
    </mc:Choice>
    <mc:Fallback xmlns="">
      <p:transition>
        <p:push dir="r"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FE55C9-BC24-4AA3-8E70-10B32005B7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181" y="1378173"/>
            <a:ext cx="10515600" cy="604781"/>
          </a:xfrm>
        </p:spPr>
        <p:txBody>
          <a:bodyPr/>
          <a:lstStyle/>
          <a:p>
            <a:r>
              <a:rPr lang="en-US">
                <a:cs typeface="Bai Jamjuree Medium"/>
              </a:rPr>
              <a:t>Collect entities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4CEE01-A305-40E2-B0D7-CF74D925D15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629603" y="2197405"/>
            <a:ext cx="5246912" cy="3743910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>
                <a:latin typeface="Bai Jamjuree"/>
                <a:cs typeface="Bai Jamjuree"/>
              </a:rPr>
              <a:t>Weak </a:t>
            </a:r>
            <a:r>
              <a:rPr lang="en-US" dirty="0" err="1">
                <a:latin typeface="Bai Jamjuree"/>
                <a:cs typeface="Bai Jamjuree"/>
              </a:rPr>
              <a:t>ptrs</a:t>
            </a:r>
            <a:r>
              <a:rPr lang="en-US" dirty="0">
                <a:latin typeface="Bai Jamjuree"/>
                <a:cs typeface="Bai Jamjuree"/>
              </a:rPr>
              <a:t> to nodes get added to the executor then:</a:t>
            </a:r>
            <a:endParaRPr lang="en-US" dirty="0">
              <a:cs typeface="Bai Jamjuree"/>
            </a:endParaRPr>
          </a:p>
          <a:p>
            <a:r>
              <a:rPr lang="en-US" dirty="0">
                <a:cs typeface="Bai Jamjuree"/>
              </a:rPr>
              <a:t>Executor walks through all </a:t>
            </a:r>
            <a:endParaRPr lang="en-US" dirty="0"/>
          </a:p>
          <a:p>
            <a:pPr marL="342900" indent="-342900">
              <a:buFont typeface="Arial"/>
              <a:buChar char="•"/>
            </a:pPr>
            <a:r>
              <a:rPr lang="en-US" dirty="0">
                <a:cs typeface="Bai Jamjuree"/>
              </a:rPr>
              <a:t>Nodes</a:t>
            </a:r>
            <a:endParaRPr lang="en-US" dirty="0"/>
          </a:p>
          <a:p>
            <a:pPr marL="800100" lvl="1" indent="-342900">
              <a:buFont typeface="Arial"/>
              <a:buChar char="•"/>
            </a:pPr>
            <a:r>
              <a:rPr lang="en-US" dirty="0">
                <a:cs typeface="Bai Jamjuree"/>
              </a:rPr>
              <a:t>Callback-groups</a:t>
            </a:r>
          </a:p>
          <a:p>
            <a:pPr marL="1257300" lvl="2" indent="-342900">
              <a:buFont typeface="Arial"/>
              <a:buChar char="•"/>
            </a:pPr>
            <a:r>
              <a:rPr lang="en-US" dirty="0">
                <a:cs typeface="Bai Jamjuree"/>
              </a:rPr>
              <a:t>Timers</a:t>
            </a:r>
            <a:endParaRPr lang="en-US" dirty="0"/>
          </a:p>
          <a:p>
            <a:pPr marL="1257300" lvl="2" indent="-342900">
              <a:buFont typeface="Arial"/>
              <a:buChar char="•"/>
            </a:pPr>
            <a:r>
              <a:rPr lang="en-US" dirty="0">
                <a:cs typeface="Bai Jamjuree"/>
              </a:rPr>
              <a:t>Subscriptions</a:t>
            </a:r>
          </a:p>
          <a:p>
            <a:pPr marL="1257300" lvl="2" indent="-342900">
              <a:buFont typeface="Arial"/>
              <a:buChar char="•"/>
            </a:pPr>
            <a:r>
              <a:rPr lang="en-US" dirty="0">
                <a:cs typeface="Bai Jamjuree"/>
              </a:rPr>
              <a:t>Services</a:t>
            </a:r>
            <a:endParaRPr lang="en-US" dirty="0"/>
          </a:p>
          <a:p>
            <a:pPr marL="1257300" lvl="2" indent="-342900">
              <a:buFont typeface="Arial"/>
              <a:buChar char="•"/>
            </a:pPr>
            <a:r>
              <a:rPr lang="en-US" dirty="0">
                <a:cs typeface="Bai Jamjuree"/>
              </a:rPr>
              <a:t>Clients</a:t>
            </a:r>
            <a:endParaRPr lang="en-US" dirty="0"/>
          </a:p>
          <a:p>
            <a:r>
              <a:rPr lang="en-US" dirty="0">
                <a:latin typeface="Bai Jamjuree"/>
                <a:cs typeface="Bai Jamjuree"/>
              </a:rPr>
              <a:t>to collect RCL handles and store the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733AAB-E7ED-422A-9231-98AFB601EA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33E1F8A-623D-F543-9B8C-2A7B255C069A}" type="slidenum">
              <a:rPr lang="en-US"/>
              <a:pPr/>
              <a:t>2</a:t>
            </a:fld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4632567-A478-40B5-AE36-755E3A4849D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6935AEE-6642-B04E-B376-7A3ECC3A0D65}" type="datetime3">
              <a:rPr lang="en-US"/>
              <a:t>8 October 2019</a:t>
            </a:fld>
            <a:endParaRPr lang="en-US"/>
          </a:p>
        </p:txBody>
      </p:sp>
      <p:pic>
        <p:nvPicPr>
          <p:cNvPr id="8" name="Picture 8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7D06F66B-6FF4-41E1-B44B-E2017265AA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75362" y="1653270"/>
            <a:ext cx="4209326" cy="4593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5480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>
        <p:push dir="r"/>
      </p:transition>
    </mc:Choice>
    <mc:Fallback xmlns="">
      <p:transition>
        <p:push dir="r"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84BC0D-6701-4B25-81F4-CCC994A6D4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181" y="1378173"/>
            <a:ext cx="10515600" cy="604781"/>
          </a:xfrm>
        </p:spPr>
        <p:txBody>
          <a:bodyPr/>
          <a:lstStyle/>
          <a:p>
            <a:r>
              <a:rPr lang="en-US">
                <a:cs typeface="Bai Jamjuree Medium"/>
              </a:rPr>
              <a:t>Creating a wait_set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14D4AA-5A42-42CF-93AB-83B067F796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33E1F8A-623D-F543-9B8C-2A7B255C069A}" type="slidenum">
              <a:rPr lang="en-US"/>
              <a:pPr/>
              <a:t>3</a:t>
            </a:fld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4C85D40-C0FC-4C0D-88BE-A37A516623F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6935AEE-6642-B04E-B376-7A3ECC3A0D65}" type="datetime3">
              <a:rPr lang="en-US"/>
              <a:t>8 October 2019</a:t>
            </a:fld>
            <a:endParaRPr lang="en-US"/>
          </a:p>
        </p:txBody>
      </p:sp>
      <p:pic>
        <p:nvPicPr>
          <p:cNvPr id="26" name="Picture 26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6581090A-1895-4655-92F1-8DF05A2814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07436" y="2361354"/>
            <a:ext cx="3863249" cy="3016638"/>
          </a:xfrm>
          <a:prstGeom prst="rect">
            <a:avLst/>
          </a:prstGeom>
        </p:spPr>
      </p:pic>
      <p:pic>
        <p:nvPicPr>
          <p:cNvPr id="28" name="Picture 28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56384092-BB39-458B-9500-95F81920BF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07436" y="2361354"/>
            <a:ext cx="3863249" cy="3016638"/>
          </a:xfrm>
          <a:prstGeom prst="rect">
            <a:avLst/>
          </a:prstGeom>
        </p:spPr>
      </p:pic>
      <p:pic>
        <p:nvPicPr>
          <p:cNvPr id="30" name="Picture 30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4AA6159F-53E5-4786-9823-94B0DEBA1B2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07436" y="2361354"/>
            <a:ext cx="3863249" cy="3016638"/>
          </a:xfrm>
          <a:prstGeom prst="rect">
            <a:avLst/>
          </a:prstGeom>
        </p:spPr>
      </p:pic>
      <p:pic>
        <p:nvPicPr>
          <p:cNvPr id="32" name="Picture 32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A9B5E6EF-79B5-46F3-BEFC-3CB876C1D62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07436" y="2361354"/>
            <a:ext cx="3863249" cy="3016638"/>
          </a:xfrm>
          <a:prstGeom prst="rect">
            <a:avLst/>
          </a:prstGeom>
        </p:spPr>
      </p:pic>
      <p:pic>
        <p:nvPicPr>
          <p:cNvPr id="34" name="Picture 34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5680CB2F-78E4-497C-9EFC-94993E5238E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07436" y="2361354"/>
            <a:ext cx="3863249" cy="3016638"/>
          </a:xfrm>
          <a:prstGeom prst="rect">
            <a:avLst/>
          </a:prstGeom>
        </p:spPr>
      </p:pic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DA17940F-01D1-4B6D-9D91-775C2C61B92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629603" y="2197405"/>
            <a:ext cx="3755489" cy="3743910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>
                <a:cs typeface="Bai Jamjuree"/>
              </a:rPr>
              <a:t>A wait_set contains references to everything that potentially needs to be execute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00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>
        <p:push dir="r"/>
      </p:transition>
    </mc:Choice>
    <mc:Fallback xmlns="">
      <p:transition>
        <p:push dir="r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7A15E2-9FB9-406D-AA5D-BEFA8249DF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181" y="1378173"/>
            <a:ext cx="10515600" cy="604781"/>
          </a:xfrm>
        </p:spPr>
        <p:txBody>
          <a:bodyPr/>
          <a:lstStyle/>
          <a:p>
            <a:r>
              <a:rPr lang="en-US">
                <a:cs typeface="Bai Jamjuree Medium"/>
              </a:rPr>
              <a:t>Executing an executab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667B6C-1252-4E8E-8FA4-C95F63B51351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342900" indent="-342900">
              <a:buFont typeface="Arial"/>
              <a:buChar char="•"/>
            </a:pPr>
            <a:r>
              <a:rPr lang="en-US" dirty="0">
                <a:latin typeface="Bai Jamjuree"/>
                <a:cs typeface="Bai Jamjuree"/>
              </a:rPr>
              <a:t>Need a "base" that has a handle in the </a:t>
            </a:r>
            <a:r>
              <a:rPr lang="en-US" dirty="0" err="1">
                <a:latin typeface="Bai Jamjuree"/>
                <a:cs typeface="Bai Jamjuree"/>
              </a:rPr>
              <a:t>wait_set</a:t>
            </a:r>
            <a:endParaRPr lang="en-US"/>
          </a:p>
          <a:p>
            <a:pPr marL="342900" indent="-342900">
              <a:buFont typeface="Arial"/>
              <a:buChar char="•"/>
            </a:pPr>
            <a:r>
              <a:rPr lang="en-US" dirty="0" err="1">
                <a:latin typeface="Bai Jamjuree"/>
                <a:cs typeface="Bai Jamjuree"/>
              </a:rPr>
              <a:t>get_next_ready_executable</a:t>
            </a:r>
            <a:r>
              <a:rPr lang="en-US" dirty="0">
                <a:latin typeface="Bai Jamjuree"/>
                <a:cs typeface="Bai Jamjuree"/>
              </a:rPr>
              <a:t> walks through timers, subscriptions, services and clients to find the first thing that is ready</a:t>
            </a:r>
            <a:endParaRPr lang="en-US"/>
          </a:p>
          <a:p>
            <a:pPr marL="342900" indent="-342900">
              <a:buFont typeface="Arial"/>
              <a:buChar char="•"/>
            </a:pPr>
            <a:r>
              <a:rPr lang="en-US" dirty="0">
                <a:latin typeface="Bai Jamjuree"/>
                <a:cs typeface="Bai Jamjuree"/>
              </a:rPr>
              <a:t>Makes system dynamic but consumes a lot of CPU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D40E55-0108-48B7-9116-1A7464320F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33E1F8A-623D-F543-9B8C-2A7B255C069A}" type="slidenum">
              <a:rPr lang="en-US"/>
              <a:pPr/>
              <a:t>4</a:t>
            </a:fld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E1C2FF9-E759-44BA-AC4A-DD61421E0A5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6935AEE-6642-B04E-B376-7A3ECC3A0D65}" type="datetime3">
              <a:rPr lang="en-US"/>
              <a:t>8 October 2019</a:t>
            </a:fld>
            <a:endParaRPr lang="en-US"/>
          </a:p>
        </p:txBody>
      </p:sp>
      <p:pic>
        <p:nvPicPr>
          <p:cNvPr id="17" name="Picture 34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2C77F47C-B2A0-49BF-A381-0512E15DFCC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3693" r="319" b="146"/>
          <a:stretch/>
        </p:blipFill>
        <p:spPr>
          <a:xfrm>
            <a:off x="8093725" y="4023064"/>
            <a:ext cx="3358318" cy="2250663"/>
          </a:xfrm>
          <a:prstGeom prst="rect">
            <a:avLst/>
          </a:prstGeom>
        </p:spPr>
      </p:pic>
      <p:pic>
        <p:nvPicPr>
          <p:cNvPr id="18" name="Picture 18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E4B1BF6E-A013-40CB-B84F-7A51518EBF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58039" y="4093272"/>
            <a:ext cx="4019320" cy="2196852"/>
          </a:xfrm>
          <a:prstGeom prst="rect">
            <a:avLst/>
          </a:prstGeom>
        </p:spPr>
      </p:pic>
      <p:pic>
        <p:nvPicPr>
          <p:cNvPr id="20" name="Picture 20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5CEA78D7-849A-4FE5-AFBF-5010B7B072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58039" y="4093272"/>
            <a:ext cx="4019320" cy="2196852"/>
          </a:xfrm>
          <a:prstGeom prst="rect">
            <a:avLst/>
          </a:prstGeom>
        </p:spPr>
      </p:pic>
      <p:pic>
        <p:nvPicPr>
          <p:cNvPr id="22" name="Picture 22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AD6BBA39-0C7A-4C80-A2F9-96B230BB4B6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58039" y="4093272"/>
            <a:ext cx="4019320" cy="2196852"/>
          </a:xfrm>
          <a:prstGeom prst="rect">
            <a:avLst/>
          </a:prstGeom>
        </p:spPr>
      </p:pic>
      <p:pic>
        <p:nvPicPr>
          <p:cNvPr id="24" name="Picture 24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38868A13-1D5C-44FE-87C1-D1F5E2B9506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58039" y="4097533"/>
            <a:ext cx="5093465" cy="2188330"/>
          </a:xfrm>
          <a:prstGeom prst="rect">
            <a:avLst/>
          </a:prstGeom>
        </p:spPr>
      </p:pic>
      <p:pic>
        <p:nvPicPr>
          <p:cNvPr id="26" name="Picture 26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1C7B7025-FE26-4CF2-AB50-9FE589D2946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-2449" r="297" b="674"/>
          <a:stretch/>
        </p:blipFill>
        <p:spPr>
          <a:xfrm>
            <a:off x="1658039" y="4002525"/>
            <a:ext cx="6167782" cy="2283659"/>
          </a:xfrm>
          <a:prstGeom prst="rect">
            <a:avLst/>
          </a:prstGeom>
        </p:spPr>
      </p:pic>
      <p:pic>
        <p:nvPicPr>
          <p:cNvPr id="30" name="Picture 30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931DDCD3-28C8-4A68-B253-7AA734C20190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-1635" t="69" r="545" b="-789"/>
          <a:stretch/>
        </p:blipFill>
        <p:spPr>
          <a:xfrm>
            <a:off x="8038640" y="4023064"/>
            <a:ext cx="3405548" cy="2263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8971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>
        <p:push dir="r"/>
      </p:transition>
    </mc:Choice>
    <mc:Fallback xmlns="">
      <p:transition>
        <p:push dir="r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D512EB-1A1C-4776-B764-B90DF3EAF1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181" y="1378173"/>
            <a:ext cx="10515600" cy="604781"/>
          </a:xfrm>
        </p:spPr>
        <p:txBody>
          <a:bodyPr/>
          <a:lstStyle/>
          <a:p>
            <a:r>
              <a:rPr lang="en-US">
                <a:cs typeface="Bai Jamjuree Medium"/>
              </a:rPr>
              <a:t>Proposed solution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9CC25C-1A4B-4E2F-8519-34E233CA78D0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342900" indent="-342900">
              <a:buFont typeface="Arial,Sans-Serif"/>
              <a:buChar char="•"/>
            </a:pPr>
            <a:r>
              <a:rPr lang="en-US">
                <a:latin typeface="Bai Jamjuree"/>
                <a:cs typeface="Bai Jamjuree"/>
              </a:rPr>
              <a:t>Assume system to be static</a:t>
            </a:r>
            <a:endParaRPr lang="en-US">
              <a:latin typeface="Bai Jamjuree"/>
            </a:endParaRPr>
          </a:p>
          <a:p>
            <a:pPr marL="800100" lvl="1" indent="-285750">
              <a:buFont typeface="Arial,Sans-Serif"/>
              <a:buChar char="•"/>
            </a:pPr>
            <a:r>
              <a:rPr lang="en-US">
                <a:cs typeface="Bai Jamjuree"/>
              </a:rPr>
              <a:t>Collect entities </a:t>
            </a:r>
            <a:r>
              <a:rPr lang="en-US" b="1">
                <a:cs typeface="Bai Jamjuree"/>
              </a:rPr>
              <a:t>once</a:t>
            </a:r>
            <a:endParaRPr lang="en-US" dirty="0">
              <a:cs typeface="Bai Jamjuree"/>
            </a:endParaRPr>
          </a:p>
          <a:p>
            <a:pPr marL="800100" lvl="1" indent="-285750">
              <a:buFont typeface="Arial,Sans-Serif"/>
              <a:buChar char="•"/>
            </a:pPr>
            <a:r>
              <a:rPr lang="en-US">
                <a:cs typeface="Bai Jamjuree"/>
              </a:rPr>
              <a:t>Build the wait-set </a:t>
            </a:r>
            <a:r>
              <a:rPr lang="en-US" b="1">
                <a:cs typeface="Bai Jamjuree"/>
              </a:rPr>
              <a:t>once</a:t>
            </a:r>
            <a:endParaRPr lang="en-US" b="1" dirty="0">
              <a:cs typeface="Bai Jamjuree"/>
            </a:endParaRPr>
          </a:p>
          <a:p>
            <a:pPr marL="800100" lvl="1" indent="-285750">
              <a:buFont typeface="Arial,Sans-Serif"/>
              <a:buChar char="•"/>
            </a:pPr>
            <a:r>
              <a:rPr lang="en-US">
                <a:cs typeface="Bai Jamjuree"/>
              </a:rPr>
              <a:t>Don’t walk the tree to find executables</a:t>
            </a:r>
            <a:endParaRPr lang="en-US" b="1" dirty="0">
              <a:cs typeface="Bai Jamjuree"/>
            </a:endParaRPr>
          </a:p>
          <a:p>
            <a:pPr marL="800100" lvl="1" indent="-285750">
              <a:buFont typeface="Arial,Sans-Serif"/>
              <a:buChar char="•"/>
            </a:pPr>
            <a:endParaRPr lang="en-US" dirty="0">
              <a:cs typeface="Bai Jamjuree"/>
            </a:endParaRPr>
          </a:p>
          <a:p>
            <a:pPr marL="800100" lvl="1" indent="-285750">
              <a:buFont typeface="Arial,Sans-Serif"/>
              <a:buChar char="•"/>
            </a:pPr>
            <a:r>
              <a:rPr lang="en-US">
                <a:cs typeface="Bai Jamjuree"/>
              </a:rPr>
              <a:t>Instead:</a:t>
            </a:r>
            <a:endParaRPr lang="en-US" dirty="0">
              <a:cs typeface="Bai Jamjuree"/>
            </a:endParaRPr>
          </a:p>
          <a:p>
            <a:pPr marL="1257300" lvl="2">
              <a:buFont typeface="Arial,Sans-Serif"/>
              <a:buChar char="•"/>
            </a:pPr>
            <a:r>
              <a:rPr lang="en-US" dirty="0">
                <a:cs typeface="Bai Jamjuree"/>
              </a:rPr>
              <a:t> </a:t>
            </a:r>
            <a:r>
              <a:rPr lang="en-US">
                <a:cs typeface="Bai Jamjuree"/>
              </a:rPr>
              <a:t>Create a struct of bases that relates directly to the wait-set</a:t>
            </a:r>
            <a:endParaRPr lang="en-US" dirty="0">
              <a:cs typeface="Bai Jamjuree"/>
            </a:endParaRPr>
          </a:p>
          <a:p>
            <a:pPr marL="1257300" lvl="2">
              <a:buFont typeface="Arial,Sans-Serif"/>
              <a:buChar char="•"/>
            </a:pPr>
            <a:r>
              <a:rPr lang="en-US" dirty="0">
                <a:cs typeface="Bai Jamjuree"/>
              </a:rPr>
              <a:t> </a:t>
            </a:r>
            <a:r>
              <a:rPr lang="en-US">
                <a:cs typeface="Bai Jamjuree"/>
              </a:rPr>
              <a:t>if ready to execute -&gt; execute</a:t>
            </a:r>
          </a:p>
          <a:p>
            <a:pPr marL="1257300" lvl="2">
              <a:buFont typeface="Arial,Sans-Serif"/>
              <a:buChar char="•"/>
            </a:pPr>
            <a:r>
              <a:rPr lang="en-US">
                <a:cs typeface="Bai Jamjuree"/>
              </a:rPr>
              <a:t> else skip it</a:t>
            </a:r>
            <a:endParaRPr lang="en-US" dirty="0">
              <a:cs typeface="Bai Jamjuree"/>
            </a:endParaRPr>
          </a:p>
          <a:p>
            <a:pPr marL="800100" lvl="1"/>
            <a:endParaRPr lang="en-US" dirty="0">
              <a:cs typeface="Bai Jamjuree"/>
            </a:endParaRPr>
          </a:p>
          <a:p>
            <a:pPr marL="342900">
              <a:buFont typeface="Arial,Sans-Serif"/>
              <a:buChar char="•"/>
            </a:pPr>
            <a:endParaRPr lang="en-US" dirty="0">
              <a:cs typeface="Bai Jamjuree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E9E40B-5E0D-423C-AF39-7D60C5A770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33E1F8A-623D-F543-9B8C-2A7B255C069A}" type="slidenum">
              <a:rPr lang="en-US"/>
              <a:pPr/>
              <a:t>5</a:t>
            </a:fld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28B49B7-16EA-4197-886C-F45FF5DEDEE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6935AEE-6642-B04E-B376-7A3ECC3A0D65}" type="datetime3">
              <a:rPr lang="en-US"/>
              <a:t>8 October 20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3603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>
        <p:push dir="r"/>
      </p:transition>
    </mc:Choice>
    <mc:Fallback xmlns="">
      <p:transition>
        <p:push dir="r"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44C720-2ECC-4FEF-BD7F-B705984DC7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181" y="1378173"/>
            <a:ext cx="10515600" cy="604781"/>
          </a:xfrm>
        </p:spPr>
        <p:txBody>
          <a:bodyPr/>
          <a:lstStyle/>
          <a:p>
            <a:r>
              <a:rPr lang="en-US">
                <a:cs typeface="Bai Jamjuree Medium"/>
              </a:rPr>
              <a:t>Static Executor - Implementation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3E339B-0C8F-41D0-9995-F4621B9B79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33E1F8A-623D-F543-9B8C-2A7B255C069A}" type="slidenum">
              <a:rPr lang="en-US"/>
              <a:pPr/>
              <a:t>6</a:t>
            </a:fld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963D45F-C147-4981-870B-3FAD6641BF7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6935AEE-6642-B04E-B376-7A3ECC3A0D65}" type="datetime3">
              <a:t>8 October 2019</a:t>
            </a:fld>
            <a:endParaRPr lang="en-US"/>
          </a:p>
        </p:txBody>
      </p:sp>
      <p:pic>
        <p:nvPicPr>
          <p:cNvPr id="10" name="Picture 10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BB35D22C-2127-458D-9F69-7DBB9157FF6F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1902247" y="2353477"/>
            <a:ext cx="8222874" cy="3945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9244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>
        <p:push dir="r"/>
      </p:transition>
    </mc:Choice>
    <mc:Fallback xmlns="">
      <p:transition>
        <p:push dir="r"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0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CC1362F7-3487-4334-8DEF-8F4095886A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4742" y="2666154"/>
            <a:ext cx="3863249" cy="3016638"/>
          </a:xfrm>
          <a:prstGeom prst="rect">
            <a:avLst/>
          </a:prstGeom>
        </p:spPr>
      </p:pic>
      <p:pic>
        <p:nvPicPr>
          <p:cNvPr id="13" name="Picture 32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F3D99BA1-F6EB-43EF-8A2B-F89256BE05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0721" y="2664225"/>
            <a:ext cx="3863249" cy="301663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68603A9-3F2D-4108-952C-E596D94D39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181" y="1378173"/>
            <a:ext cx="10515600" cy="604781"/>
          </a:xfrm>
        </p:spPr>
        <p:txBody>
          <a:bodyPr/>
          <a:lstStyle/>
          <a:p>
            <a:r>
              <a:rPr lang="en-US">
                <a:cs typeface="Bai Jamjuree Medium"/>
              </a:rPr>
              <a:t>Static Executor - Implement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4A1730-C5BF-45DD-B5D0-BED0660439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33E1F8A-623D-F543-9B8C-2A7B255C069A}" type="slidenum">
              <a:rPr lang="en-US"/>
              <a:pPr/>
              <a:t>7</a:t>
            </a:fld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B92255D-D8D8-451E-B5F6-5F556FF38F1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6935AEE-6642-B04E-B376-7A3ECC3A0D65}" type="datetime3">
              <a:rPr lang="en-US"/>
              <a:t>8 October 2019</a:t>
            </a:fld>
            <a:endParaRPr lang="en-US"/>
          </a:p>
        </p:txBody>
      </p:sp>
      <p:pic>
        <p:nvPicPr>
          <p:cNvPr id="20" name="Picture 20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06723B2E-57FE-4AC3-8C9E-F0E1119CA3EC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4"/>
          <a:stretch>
            <a:fillRect/>
          </a:stretch>
        </p:blipFill>
        <p:spPr>
          <a:xfrm>
            <a:off x="6533531" y="3401465"/>
            <a:ext cx="4962525" cy="1914525"/>
          </a:xfrm>
          <a:prstGeom prst="rect">
            <a:avLst/>
          </a:prstGeom>
        </p:spPr>
      </p:pic>
      <p:pic>
        <p:nvPicPr>
          <p:cNvPr id="22" name="Picture 22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D4EF6D3A-208C-4CB7-9152-6A7D8077C3A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37767" y="3401411"/>
            <a:ext cx="4971326" cy="1916772"/>
          </a:xfrm>
          <a:prstGeom prst="rect">
            <a:avLst/>
          </a:prstGeom>
        </p:spPr>
      </p:pic>
      <p:pic>
        <p:nvPicPr>
          <p:cNvPr id="24" name="Picture 30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7AED2662-8675-440B-B6E8-AC06107E90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4741" y="2666154"/>
            <a:ext cx="3863249" cy="3016638"/>
          </a:xfrm>
          <a:prstGeom prst="rect">
            <a:avLst/>
          </a:prstGeom>
        </p:spPr>
      </p:pic>
      <p:pic>
        <p:nvPicPr>
          <p:cNvPr id="25" name="Picture 25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3A481991-231A-4B5E-B207-398DDE831FA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2906" y="2664320"/>
            <a:ext cx="3872428" cy="3016638"/>
          </a:xfrm>
          <a:prstGeom prst="rect">
            <a:avLst/>
          </a:prstGeom>
        </p:spPr>
      </p:pic>
      <p:pic>
        <p:nvPicPr>
          <p:cNvPr id="27" name="Picture 27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D1A1989B-983C-48E9-BA58-C2CC56703E2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42182" y="3404781"/>
            <a:ext cx="4955754" cy="1912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7533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>
        <p:push dir="r"/>
      </p:transition>
    </mc:Choice>
    <mc:Fallback xmlns="">
      <p:transition>
        <p:push dir="r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44C720-2ECC-4FEF-BD7F-B705984DC7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181" y="1378173"/>
            <a:ext cx="10515600" cy="604781"/>
          </a:xfrm>
        </p:spPr>
        <p:txBody>
          <a:bodyPr/>
          <a:lstStyle/>
          <a:p>
            <a:r>
              <a:rPr lang="en-US">
                <a:cs typeface="Bai Jamjuree Medium"/>
              </a:rPr>
              <a:t>Next Steps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A1BFBD-EC0B-4BDF-A360-95C874BDD12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43485" y="2412558"/>
            <a:ext cx="8905875" cy="3743910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342900" indent="-342900">
              <a:buFont typeface="Arial"/>
              <a:buChar char="•"/>
            </a:pPr>
            <a:r>
              <a:rPr lang="en-US" dirty="0">
                <a:latin typeface="Bai Jamjuree"/>
                <a:cs typeface="Bai Jamjuree"/>
              </a:rPr>
              <a:t>Add event triggers to static executor</a:t>
            </a:r>
          </a:p>
          <a:p>
            <a:pPr marL="342900" indent="-342900">
              <a:buFont typeface="Arial"/>
              <a:buChar char="•"/>
            </a:pPr>
            <a:r>
              <a:rPr lang="en-US">
                <a:latin typeface="Bai Jamjuree"/>
                <a:cs typeface="Bai Jamjuree"/>
              </a:rPr>
              <a:t>Improve scheduling (Bosch)</a:t>
            </a:r>
            <a:endParaRPr lang="en-US" dirty="0">
              <a:latin typeface="Bai Jamjuree"/>
              <a:cs typeface="Bai Jamjuree"/>
            </a:endParaRPr>
          </a:p>
          <a:p>
            <a:pPr marL="800100" lvl="1" indent="-285750">
              <a:buFont typeface="Arial"/>
              <a:buChar char="•"/>
            </a:pPr>
            <a:r>
              <a:rPr lang="en-US">
                <a:latin typeface="Bai Jamjuree"/>
                <a:cs typeface="Bai Jamjuree"/>
              </a:rPr>
              <a:t>Priority</a:t>
            </a:r>
            <a:endParaRPr lang="en-US" dirty="0">
              <a:latin typeface="Bai Jamjuree"/>
              <a:cs typeface="Bai Jamjuree"/>
            </a:endParaRPr>
          </a:p>
          <a:p>
            <a:pPr marL="800100" lvl="1" indent="-285750">
              <a:buFont typeface="Arial"/>
              <a:buChar char="•"/>
            </a:pPr>
            <a:r>
              <a:rPr lang="en-US">
                <a:latin typeface="Bai Jamjuree"/>
                <a:cs typeface="Bai Jamjuree"/>
              </a:rPr>
              <a:t>RT safe</a:t>
            </a:r>
            <a:endParaRPr lang="en-US" dirty="0">
              <a:latin typeface="Bai Jamjuree"/>
              <a:cs typeface="Bai Jamjuree"/>
            </a:endParaRPr>
          </a:p>
          <a:p>
            <a:pPr marL="342900" indent="-342900">
              <a:buFont typeface="Arial"/>
              <a:buChar char="•"/>
            </a:pPr>
            <a:r>
              <a:rPr lang="en-US" dirty="0">
                <a:latin typeface="Bai Jamjuree"/>
                <a:cs typeface="Bai Jamjuree"/>
              </a:rPr>
              <a:t>Working on a PR </a:t>
            </a:r>
            <a:r>
              <a:rPr lang="en-US" dirty="0">
                <a:latin typeface="Bai Jamjuree"/>
                <a:cs typeface="Bai Jamjuree"/>
                <a:hlinkClick r:id="rId2"/>
              </a:rPr>
              <a:t>https://github.com/ros2/rclcpp/pull/873</a:t>
            </a:r>
            <a:endParaRPr lang="en-US" dirty="0">
              <a:latin typeface="Bai Jamjuree"/>
            </a:endParaRPr>
          </a:p>
          <a:p>
            <a:pPr marL="800100" lvl="1">
              <a:buFont typeface="Arial"/>
              <a:buChar char="•"/>
            </a:pPr>
            <a:r>
              <a:rPr lang="en-US" dirty="0">
                <a:latin typeface="Bai Jamjuree"/>
                <a:cs typeface="Bai Jamjuree"/>
              </a:rPr>
              <a:t> Implement community proposed changes</a:t>
            </a:r>
            <a:endParaRPr lang="en-US" dirty="0">
              <a:latin typeface="Bai Jamjuree"/>
            </a:endParaRPr>
          </a:p>
          <a:p>
            <a:pPr marL="800100" lvl="1">
              <a:buFont typeface="Arial"/>
              <a:buChar char="•"/>
            </a:pPr>
            <a:r>
              <a:rPr lang="en-US" dirty="0">
                <a:latin typeface="Bai Jamjuree"/>
                <a:cs typeface="Bai Jamjuree"/>
              </a:rPr>
              <a:t> Get PR approved / assist in design of proper executor (share our information / data)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3E339B-0C8F-41D0-9995-F4621B9B79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33E1F8A-623D-F543-9B8C-2A7B255C069A}" type="slidenum">
              <a:rPr lang="en-US"/>
              <a:pPr/>
              <a:t>8</a:t>
            </a:fld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963D45F-C147-4981-870B-3FAD6641BF7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6935AEE-6642-B04E-B376-7A3ECC3A0D65}" type="datetime3">
              <a:t>8 October 20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6100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>
        <p:push dir="r"/>
      </p:transition>
    </mc:Choice>
    <mc:Fallback xmlns="">
      <p:transition>
        <p:push dir="r"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26E814B-D86E-4F6E-AD5B-15E39297B2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33E1F8A-623D-F543-9B8C-2A7B255C069A}" type="slidenum">
              <a:rPr lang="en-US"/>
              <a:pPr/>
              <a:t>9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D074198-5D5E-40DD-A7D8-5A67D52299FF}"/>
              </a:ext>
            </a:extLst>
          </p:cNvPr>
          <p:cNvSpPr txBox="1"/>
          <p:nvPr/>
        </p:nvSpPr>
        <p:spPr>
          <a:xfrm>
            <a:off x="2526323" y="1559170"/>
            <a:ext cx="6533661" cy="7078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4000">
                <a:solidFill>
                  <a:schemeClr val="bg1"/>
                </a:solidFill>
              </a:rPr>
              <a:t>Thank you</a:t>
            </a:r>
            <a:endParaRPr lang="en-US" sz="4000">
              <a:solidFill>
                <a:schemeClr val="bg1"/>
              </a:solidFill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4199692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>
        <p:push dir="r"/>
      </p:transition>
    </mc:Choice>
    <mc:Fallback xmlns="">
      <p:transition>
        <p:push dir="r"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XKEp7vkWEOg3H_7moLW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gVXIwmPkaNEw56OuLEH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XKEp7vkWEOg3H_7moLWq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gVXIwmPkaNEw56OuLEH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XKEp7vkWEOg3H_7moLWq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XKEp7vkWEOg3H_7moLWq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XKEp7vkWEOg3H_7moLWqw"/>
</p:tagLst>
</file>

<file path=ppt/theme/theme1.xml><?xml version="1.0" encoding="utf-8"?>
<a:theme xmlns:a="http://schemas.openxmlformats.org/drawingml/2006/main" name="Office Theme">
  <a:themeElements>
    <a:clrScheme name="Nobleo">
      <a:dk1>
        <a:srgbClr val="000000"/>
      </a:dk1>
      <a:lt1>
        <a:srgbClr val="FFFFFF"/>
      </a:lt1>
      <a:dk2>
        <a:srgbClr val="9B9B9B"/>
      </a:dk2>
      <a:lt2>
        <a:srgbClr val="F1F1F4"/>
      </a:lt2>
      <a:accent1>
        <a:srgbClr val="802C7C"/>
      </a:accent1>
      <a:accent2>
        <a:srgbClr val="A0609C"/>
      </a:accent2>
      <a:accent3>
        <a:srgbClr val="404040"/>
      </a:accent3>
      <a:accent4>
        <a:srgbClr val="7A7A7A"/>
      </a:accent4>
      <a:accent5>
        <a:srgbClr val="A9A9A9"/>
      </a:accent5>
      <a:accent6>
        <a:srgbClr val="414E5D"/>
      </a:accent6>
      <a:hlink>
        <a:srgbClr val="03397F"/>
      </a:hlink>
      <a:folHlink>
        <a:srgbClr val="00B0F0"/>
      </a:folHlink>
    </a:clrScheme>
    <a:fontScheme name="Arial-Times New Roman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 panose="02020603050405020304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4224A6DCD62544AA0C0F057FF6A624C" ma:contentTypeVersion="8" ma:contentTypeDescription="Create a new document." ma:contentTypeScope="" ma:versionID="b2561622e2dd6cfd3971bb3656bb8b8a">
  <xsd:schema xmlns:xsd="http://www.w3.org/2001/XMLSchema" xmlns:xs="http://www.w3.org/2001/XMLSchema" xmlns:p="http://schemas.microsoft.com/office/2006/metadata/properties" xmlns:ns2="2bb07f3f-25c4-465c-8532-c6bed638d9e1" xmlns:ns3="a8cb7b25-9d2c-4caa-a22c-9199682f728b" targetNamespace="http://schemas.microsoft.com/office/2006/metadata/properties" ma:root="true" ma:fieldsID="14a37038ad77e4a0d1f57553a01bd2d3" ns2:_="" ns3:_="">
    <xsd:import namespace="2bb07f3f-25c4-465c-8532-c6bed638d9e1"/>
    <xsd:import namespace="a8cb7b25-9d2c-4caa-a22c-9199682f728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bb07f3f-25c4-465c-8532-c6bed638d9e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cb7b25-9d2c-4caa-a22c-9199682f728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EA953E5-9373-4655-AE95-61D2A1E4E1DC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B5926EC1-DBBD-4D7A-AFF7-53D21E09F2F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bb07f3f-25c4-465c-8532-c6bed638d9e1"/>
    <ds:schemaRef ds:uri="a8cb7b25-9d2c-4caa-a22c-9199682f728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A4AA190-AA29-494E-8C83-3A145FF3E33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9</Slides>
  <Notes>0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0" baseType="lpstr">
      <vt:lpstr>Office Theme</vt:lpstr>
      <vt:lpstr>User code level (pseudo)</vt:lpstr>
      <vt:lpstr>Collect entities</vt:lpstr>
      <vt:lpstr>Creating a wait_set</vt:lpstr>
      <vt:lpstr>Executing an executable</vt:lpstr>
      <vt:lpstr>Proposed solution</vt:lpstr>
      <vt:lpstr>Static Executor - Implementation</vt:lpstr>
      <vt:lpstr>Static Executor - Implementation</vt:lpstr>
      <vt:lpstr>Next Step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ong island</dc:creator>
  <cp:revision>100</cp:revision>
  <cp:lastPrinted>2018-11-07T12:51:50Z</cp:lastPrinted>
  <dcterms:created xsi:type="dcterms:W3CDTF">2015-09-11T22:06:07Z</dcterms:created>
  <dcterms:modified xsi:type="dcterms:W3CDTF">2019-10-08T13:39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4224A6DCD62544AA0C0F057FF6A624C</vt:lpwstr>
  </property>
  <property fmtid="{D5CDD505-2E9C-101B-9397-08002B2CF9AE}" pid="3" name="AuthorIds_UIVersion_1024">
    <vt:lpwstr>123</vt:lpwstr>
  </property>
</Properties>
</file>